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jpg" ContentType="image/jp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58"/>
  </p:notesMasterIdLst>
  <p:handoutMasterIdLst>
    <p:handoutMasterId r:id="rId59"/>
  </p:handoutMasterIdLst>
  <p:sldIdLst>
    <p:sldId id="504" r:id="rId2"/>
    <p:sldId id="1065" r:id="rId3"/>
    <p:sldId id="1066" r:id="rId4"/>
    <p:sldId id="1067" r:id="rId5"/>
    <p:sldId id="1068" r:id="rId6"/>
    <p:sldId id="1069" r:id="rId7"/>
    <p:sldId id="1070" r:id="rId8"/>
    <p:sldId id="1071" r:id="rId9"/>
    <p:sldId id="1072" r:id="rId10"/>
    <p:sldId id="1073" r:id="rId11"/>
    <p:sldId id="1074" r:id="rId12"/>
    <p:sldId id="1075" r:id="rId13"/>
    <p:sldId id="1076" r:id="rId14"/>
    <p:sldId id="1077" r:id="rId15"/>
    <p:sldId id="1078" r:id="rId16"/>
    <p:sldId id="1079" r:id="rId17"/>
    <p:sldId id="1080" r:id="rId18"/>
    <p:sldId id="1081" r:id="rId19"/>
    <p:sldId id="1082" r:id="rId20"/>
    <p:sldId id="1083" r:id="rId21"/>
    <p:sldId id="1084" r:id="rId22"/>
    <p:sldId id="1085" r:id="rId23"/>
    <p:sldId id="1086" r:id="rId24"/>
    <p:sldId id="1087" r:id="rId25"/>
    <p:sldId id="1088" r:id="rId26"/>
    <p:sldId id="1089" r:id="rId27"/>
    <p:sldId id="1090" r:id="rId28"/>
    <p:sldId id="1091" r:id="rId29"/>
    <p:sldId id="1092" r:id="rId30"/>
    <p:sldId id="1093" r:id="rId31"/>
    <p:sldId id="1094" r:id="rId32"/>
    <p:sldId id="1095" r:id="rId33"/>
    <p:sldId id="1096" r:id="rId34"/>
    <p:sldId id="1097" r:id="rId35"/>
    <p:sldId id="1098" r:id="rId36"/>
    <p:sldId id="1099" r:id="rId37"/>
    <p:sldId id="1100" r:id="rId38"/>
    <p:sldId id="1101" r:id="rId39"/>
    <p:sldId id="1102" r:id="rId40"/>
    <p:sldId id="1103" r:id="rId41"/>
    <p:sldId id="1104" r:id="rId42"/>
    <p:sldId id="1105" r:id="rId43"/>
    <p:sldId id="1106" r:id="rId44"/>
    <p:sldId id="1107" r:id="rId45"/>
    <p:sldId id="1108" r:id="rId46"/>
    <p:sldId id="1109" r:id="rId47"/>
    <p:sldId id="1110" r:id="rId48"/>
    <p:sldId id="1111" r:id="rId49"/>
    <p:sldId id="1112" r:id="rId50"/>
    <p:sldId id="1113" r:id="rId51"/>
    <p:sldId id="1114" r:id="rId52"/>
    <p:sldId id="1117" r:id="rId53"/>
    <p:sldId id="1118" r:id="rId54"/>
    <p:sldId id="1119" r:id="rId55"/>
    <p:sldId id="1005" r:id="rId56"/>
    <p:sldId id="976" r:id="rId57"/>
  </p:sldIdLst>
  <p:sldSz cx="12192000" cy="6858000"/>
  <p:notesSz cx="6858000" cy="9144000"/>
  <p:defaultTex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p:defaultTextStyle>
  <p:extLst>
    <p:ext uri="{EFAFB233-063F-42B5-8137-9DF3F51BA10A}">
      <p15:sldGuideLst xmlns:p15="http://schemas.microsoft.com/office/powerpoint/2012/main">
        <p15:guide id="1" orient="horz" pos="1260" userDrawn="1">
          <p15:clr>
            <a:srgbClr val="A4A3A4"/>
          </p15:clr>
        </p15:guide>
        <p15:guide id="2" orient="horz" pos="4102" userDrawn="1">
          <p15:clr>
            <a:srgbClr val="A4A3A4"/>
          </p15:clr>
        </p15:guide>
        <p15:guide id="3" orient="horz" pos="212" userDrawn="1">
          <p15:clr>
            <a:srgbClr val="A4A3A4"/>
          </p15:clr>
        </p15:guide>
        <p15:guide id="4" orient="horz" pos="2140" userDrawn="1">
          <p15:clr>
            <a:srgbClr val="A4A3A4"/>
          </p15:clr>
        </p15:guide>
        <p15:guide id="5" pos="169" userDrawn="1">
          <p15:clr>
            <a:srgbClr val="A4A3A4"/>
          </p15:clr>
        </p15:guide>
        <p15:guide id="6" pos="7520" userDrawn="1">
          <p15:clr>
            <a:srgbClr val="A4A3A4"/>
          </p15:clr>
        </p15:guide>
        <p15:guide id="7" pos="619"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rinivasan Subramaniam" initials="SS" lastIdx="2" clrIdx="0">
    <p:extLst>
      <p:ext uri="{19B8F6BF-5375-455C-9EA6-DF929625EA0E}">
        <p15:presenceInfo xmlns:p15="http://schemas.microsoft.com/office/powerpoint/2012/main" userId="S-1-5-21-3962398321-1693580909-2929425835-5877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BA2"/>
    <a:srgbClr val="B5CCEA"/>
    <a:srgbClr val="234E8F"/>
    <a:srgbClr val="2F82BF"/>
    <a:srgbClr val="B42359"/>
    <a:srgbClr val="3086BF"/>
    <a:srgbClr val="123761"/>
    <a:srgbClr val="4F7DAD"/>
    <a:srgbClr val="5688BF"/>
    <a:srgbClr val="F5F5F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778" autoAdjust="0"/>
    <p:restoredTop sz="92090" autoAdjust="0"/>
  </p:normalViewPr>
  <p:slideViewPr>
    <p:cSldViewPr snapToGrid="0">
      <p:cViewPr varScale="1">
        <p:scale>
          <a:sx n="69" d="100"/>
          <a:sy n="69" d="100"/>
        </p:scale>
        <p:origin x="532" y="44"/>
      </p:cViewPr>
      <p:guideLst>
        <p:guide orient="horz" pos="1260"/>
        <p:guide orient="horz" pos="4102"/>
        <p:guide orient="horz" pos="212"/>
        <p:guide orient="horz" pos="2140"/>
        <p:guide pos="169"/>
        <p:guide pos="7520"/>
        <p:guide pos="619"/>
      </p:guideLst>
    </p:cSldViewPr>
  </p:slideViewPr>
  <p:notesTextViewPr>
    <p:cViewPr>
      <p:scale>
        <a:sx n="100" d="100"/>
        <a:sy n="100" d="100"/>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eaLnBrk="1" fontAlgn="auto" hangingPunct="1">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200">
                <a:ea typeface="MS PGothic" panose="020B0600070205080204" pitchFamily="34" charset="-128"/>
                <a:cs typeface="Arial" pitchFamily="34" charset="0"/>
              </a:defRPr>
            </a:lvl1pPr>
          </a:lstStyle>
          <a:p>
            <a:pPr>
              <a:defRPr/>
            </a:pPr>
            <a:fld id="{916E80C9-9524-48EC-9C37-FDDD278BA284}" type="datetime1">
              <a:rPr lang="en-US"/>
              <a:pPr>
                <a:defRPr/>
              </a:pPr>
              <a:t>9/26/2019</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ea typeface="+mn-ea"/>
                <a:cs typeface="+mn-cs"/>
              </a:defRPr>
            </a:lvl1pPr>
          </a:lstStyle>
          <a:p>
            <a:pPr>
              <a:defRPr/>
            </a:pP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ea typeface="ＭＳ Ｐゴシック" pitchFamily="34" charset="-128"/>
                <a:cs typeface="Arial" pitchFamily="34" charset="0"/>
              </a:defRPr>
            </a:lvl1pPr>
          </a:lstStyle>
          <a:p>
            <a:pPr>
              <a:defRPr/>
            </a:pPr>
            <a:fld id="{8010CA36-9309-49C8-B07E-AAF702B0C62E}" type="slidenum">
              <a:rPr lang="en-US"/>
              <a:pPr>
                <a:defRPr/>
              </a:pPr>
              <a:t>‹#›</a:t>
            </a:fld>
            <a:endParaRPr lang="en-US"/>
          </a:p>
        </p:txBody>
      </p:sp>
    </p:spTree>
    <p:extLst>
      <p:ext uri="{BB962C8B-B14F-4D97-AF65-F5344CB8AC3E}">
        <p14:creationId xmlns:p14="http://schemas.microsoft.com/office/powerpoint/2010/main" val="60487511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eaLnBrk="1" fontAlgn="auto" hangingPunct="1">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200">
                <a:ea typeface="MS PGothic" panose="020B0600070205080204" pitchFamily="34" charset="-128"/>
                <a:cs typeface="Arial" pitchFamily="34" charset="0"/>
              </a:defRPr>
            </a:lvl1pPr>
          </a:lstStyle>
          <a:p>
            <a:pPr>
              <a:defRPr/>
            </a:pPr>
            <a:fld id="{F91BF580-FD9D-4C78-9383-94D3FDD761F8}" type="datetime1">
              <a:rPr lang="en-US"/>
              <a:pPr>
                <a:defRPr/>
              </a:pPr>
              <a:t>9/26/2019</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ea typeface="+mn-ea"/>
                <a:cs typeface="+mn-cs"/>
              </a:defRPr>
            </a:lvl1pPr>
          </a:lstStyle>
          <a:p>
            <a:pPr>
              <a:defRPr/>
            </a:pPr>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ea typeface="ＭＳ Ｐゴシック" pitchFamily="34" charset="-128"/>
                <a:cs typeface="Arial" pitchFamily="34" charset="0"/>
              </a:defRPr>
            </a:lvl1pPr>
          </a:lstStyle>
          <a:p>
            <a:pPr>
              <a:defRPr/>
            </a:pPr>
            <a:fld id="{FB23CDD8-D2B6-4C60-8F57-F08576837834}" type="slidenum">
              <a:rPr lang="en-US"/>
              <a:pPr>
                <a:defRPr/>
              </a:pPr>
              <a:t>‹#›</a:t>
            </a:fld>
            <a:endParaRPr lang="en-US"/>
          </a:p>
        </p:txBody>
      </p:sp>
    </p:spTree>
    <p:extLst>
      <p:ext uri="{BB962C8B-B14F-4D97-AF65-F5344CB8AC3E}">
        <p14:creationId xmlns:p14="http://schemas.microsoft.com/office/powerpoint/2010/main" val="595860896"/>
      </p:ext>
    </p:extLst>
  </p:cSld>
  <p:clrMap bg1="lt1" tx1="dk1" bg2="lt2" tx2="dk2" accent1="accent1" accent2="accent2" accent3="accent3" accent4="accent4" accent5="accent5" accent6="accent6" hlink="hlink" folHlink="folHlink"/>
  <p:hf hdr="0" ftr="0" dt="0"/>
  <p:notesStyle>
    <a:lvl1pPr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1pPr>
    <a:lvl2pPr marL="457200"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2pPr>
    <a:lvl3pPr marL="914400"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3pPr>
    <a:lvl4pPr marL="1371600"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4pPr>
    <a:lvl5pPr marL="1828800"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13" name="Picture Placeholder 12"/>
          <p:cNvSpPr>
            <a:spLocks noGrp="1"/>
          </p:cNvSpPr>
          <p:nvPr>
            <p:ph type="pic" sz="quarter" idx="10"/>
          </p:nvPr>
        </p:nvSpPr>
        <p:spPr>
          <a:xfrm>
            <a:off x="9510713" y="1474788"/>
            <a:ext cx="2286000" cy="2851150"/>
          </a:xfrm>
          <a:prstGeom prst="rect">
            <a:avLst/>
          </a:prstGeom>
        </p:spPr>
        <p:txBody>
          <a:bodyPr/>
          <a:lstStyle/>
          <a:p>
            <a:r>
              <a:rPr lang="en-US" smtClean="0"/>
              <a:t>Click icon to add picture</a:t>
            </a:r>
            <a:endParaRPr lang="en-IN"/>
          </a:p>
        </p:txBody>
      </p:sp>
      <p:sp>
        <p:nvSpPr>
          <p:cNvPr id="6" name="Rectangle 5"/>
          <p:cNvSpPr/>
          <p:nvPr/>
        </p:nvSpPr>
        <p:spPr>
          <a:xfrm>
            <a:off x="0" y="1475580"/>
            <a:ext cx="9358313" cy="2849564"/>
          </a:xfrm>
          <a:prstGeom prst="rect">
            <a:avLst/>
          </a:prstGeom>
          <a:solidFill>
            <a:schemeClr val="tx2"/>
          </a:solidFill>
          <a:ln w="3175" cap="flat" cmpd="sng" algn="ctr">
            <a:noFill/>
            <a:prstDash val="soli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14400" eaLnBrk="1" fontAlgn="auto" hangingPunct="1">
              <a:spcBef>
                <a:spcPts val="600"/>
              </a:spcBef>
              <a:spcAft>
                <a:spcPts val="0"/>
              </a:spcAft>
            </a:pPr>
            <a:endParaRPr lang="en-IN" sz="1400" kern="0" dirty="0">
              <a:solidFill>
                <a:srgbClr val="000000"/>
              </a:solidFill>
              <a:latin typeface="+mj-lt"/>
              <a:ea typeface="+mn-ea"/>
            </a:endParaRPr>
          </a:p>
        </p:txBody>
      </p:sp>
      <p:grpSp>
        <p:nvGrpSpPr>
          <p:cNvPr id="7" name="Group 6"/>
          <p:cNvGrpSpPr/>
          <p:nvPr/>
        </p:nvGrpSpPr>
        <p:grpSpPr>
          <a:xfrm>
            <a:off x="3571" y="1475581"/>
            <a:ext cx="835819" cy="1147763"/>
            <a:chOff x="-19050" y="-4763"/>
            <a:chExt cx="835819" cy="1147763"/>
          </a:xfrm>
          <a:solidFill>
            <a:schemeClr val="bg1">
              <a:alpha val="17000"/>
            </a:schemeClr>
          </a:solidFill>
        </p:grpSpPr>
        <p:sp>
          <p:nvSpPr>
            <p:cNvPr id="8" name="Freeform 7"/>
            <p:cNvSpPr/>
            <p:nvPr/>
          </p:nvSpPr>
          <p:spPr>
            <a:xfrm>
              <a:off x="28575" y="-4763"/>
              <a:ext cx="788194" cy="350044"/>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50044">
                  <a:moveTo>
                    <a:pt x="245269" y="0"/>
                  </a:moveTo>
                  <a:lnTo>
                    <a:pt x="788194" y="342901"/>
                  </a:lnTo>
                  <a:lnTo>
                    <a:pt x="511969" y="350044"/>
                  </a:lnTo>
                  <a:lnTo>
                    <a:pt x="0" y="2382"/>
                  </a:lnTo>
                  <a:lnTo>
                    <a:pt x="245269" y="0"/>
                  </a:lnTo>
                  <a:close/>
                </a:path>
              </a:pathLst>
            </a:custGeom>
            <a:grp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a:latin typeface="+mj-lt"/>
              </a:endParaRPr>
            </a:p>
          </p:txBody>
        </p:sp>
        <p:sp>
          <p:nvSpPr>
            <p:cNvPr id="9" name="Freeform 8"/>
            <p:cNvSpPr/>
            <p:nvPr/>
          </p:nvSpPr>
          <p:spPr>
            <a:xfrm>
              <a:off x="-19050" y="419100"/>
              <a:ext cx="823913" cy="723900"/>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913" h="723900">
                  <a:moveTo>
                    <a:pt x="561975" y="2381"/>
                  </a:moveTo>
                  <a:lnTo>
                    <a:pt x="823913" y="0"/>
                  </a:lnTo>
                  <a:lnTo>
                    <a:pt x="0" y="723900"/>
                  </a:lnTo>
                  <a:lnTo>
                    <a:pt x="4762" y="526256"/>
                  </a:lnTo>
                  <a:lnTo>
                    <a:pt x="561975" y="2381"/>
                  </a:lnTo>
                  <a:close/>
                </a:path>
              </a:pathLst>
            </a:custGeom>
            <a:grp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a:latin typeface="+mj-lt"/>
              </a:endParaRPr>
            </a:p>
          </p:txBody>
        </p:sp>
      </p:grpSp>
      <p:sp>
        <p:nvSpPr>
          <p:cNvPr id="3" name="Subtitle 2"/>
          <p:cNvSpPr>
            <a:spLocks noGrp="1"/>
          </p:cNvSpPr>
          <p:nvPr userDrawn="1">
            <p:ph type="subTitle" idx="1"/>
          </p:nvPr>
        </p:nvSpPr>
        <p:spPr bwMode="gray">
          <a:xfrm>
            <a:off x="1119189" y="3013807"/>
            <a:ext cx="8095149" cy="307777"/>
          </a:xfrm>
          <a:prstGeom prst="rect">
            <a:avLst/>
          </a:prstGeom>
        </p:spPr>
        <p:txBody>
          <a:bodyPr wrap="square" lIns="0" tIns="0" rIns="0" bIns="0">
            <a:spAutoFit/>
          </a:bodyPr>
          <a:lstStyle>
            <a:lvl1pPr marL="0" indent="0" algn="l">
              <a:buNone/>
              <a:defRPr sz="200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2" name="Title 1"/>
          <p:cNvSpPr>
            <a:spLocks noGrp="1"/>
          </p:cNvSpPr>
          <p:nvPr userDrawn="1">
            <p:ph type="ctrTitle"/>
          </p:nvPr>
        </p:nvSpPr>
        <p:spPr bwMode="gray">
          <a:xfrm>
            <a:off x="1119189" y="2427922"/>
            <a:ext cx="8095149" cy="492443"/>
          </a:xfrm>
        </p:spPr>
        <p:txBody>
          <a:bodyPr wrap="square" lIns="0" tIns="0" rIns="0" bIns="0" anchor="b" anchorCtr="0">
            <a:spAutoFit/>
          </a:bodyPr>
          <a:lstStyle>
            <a:lvl1pPr algn="l">
              <a:defRPr sz="3200">
                <a:solidFill>
                  <a:srgbClr val="FFFFFF"/>
                </a:solidFill>
                <a:latin typeface="+mj-lt"/>
                <a:cs typeface="Century Gothic" panose="020B0502020202020204" pitchFamily="34" charset="0"/>
              </a:defRPr>
            </a:lvl1pPr>
          </a:lstStyle>
          <a:p>
            <a:r>
              <a:rPr lang="en-US" smtClean="0"/>
              <a:t>Click to edit Master title style</a:t>
            </a:r>
            <a:endParaRPr lang="en-US" dirty="0"/>
          </a:p>
        </p:txBody>
      </p:sp>
      <p:pic>
        <p:nvPicPr>
          <p:cNvPr id="10" name="Picture 9" descr="MAVERIC LOGO.eps"/>
          <p:cNvPicPr>
            <a:picLocks noChangeAspect="1"/>
          </p:cNvPicPr>
          <p:nvPr userDrawn="1"/>
        </p:nvPicPr>
        <p:blipFill>
          <a:blip r:embed="rId3">
            <a:extLst>
              <a:ext uri="{28A0092B-C50C-407E-A947-70E740481C1C}">
                <a14:useLocalDpi xmlns:a14="http://schemas.microsoft.com/office/drawing/2010/main" val="0"/>
              </a:ext>
            </a:extLst>
          </a:blip>
          <a:srcRect b="39967"/>
          <a:stretch>
            <a:fillRect/>
          </a:stretch>
        </p:blipFill>
        <p:spPr bwMode="auto">
          <a:xfrm>
            <a:off x="1119189" y="4422957"/>
            <a:ext cx="2157413" cy="8483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Box 10"/>
          <p:cNvSpPr txBox="1"/>
          <p:nvPr userDrawn="1">
            <p:custDataLst>
              <p:tags r:id="rId1"/>
            </p:custDataLst>
          </p:nvPr>
        </p:nvSpPr>
        <p:spPr>
          <a:xfrm>
            <a:off x="1047749" y="6496053"/>
            <a:ext cx="3089267" cy="246203"/>
          </a:xfrm>
          <a:prstGeom prst="rect">
            <a:avLst/>
          </a:prstGeom>
          <a:noFill/>
        </p:spPr>
        <p:txBody>
          <a:bodyPr wrap="none" lIns="91420" tIns="45711" rIns="91420" bIns="45711">
            <a:spAutoFit/>
          </a:bodyPr>
          <a:lstStyle/>
          <a:p>
            <a:pPr defTabSz="457104">
              <a:defRPr/>
            </a:pPr>
            <a:r>
              <a:rPr lang="en-US" sz="1000" kern="0" dirty="0">
                <a:solidFill>
                  <a:prstClr val="white">
                    <a:lumMod val="50000"/>
                  </a:prstClr>
                </a:solidFill>
                <a:latin typeface="+mj-lt"/>
              </a:rPr>
              <a:t>COPYRIGHT ©. ALL RIGHTS PROTECTED AND RESERVED.</a:t>
            </a:r>
          </a:p>
        </p:txBody>
      </p:sp>
    </p:spTree>
    <p:extLst>
      <p:ext uri="{BB962C8B-B14F-4D97-AF65-F5344CB8AC3E}">
        <p14:creationId xmlns:p14="http://schemas.microsoft.com/office/powerpoint/2010/main" val="313399062"/>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pos="71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Vertical image with paragraph text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7520" y="140511"/>
            <a:ext cx="10972800" cy="548640"/>
          </a:xfrm>
        </p:spPr>
        <p:txBody>
          <a:bodyPr/>
          <a:lstStyle>
            <a:lvl1pPr>
              <a:defRPr>
                <a:solidFill>
                  <a:schemeClr val="accent2"/>
                </a:solidFill>
              </a:defRPr>
            </a:lvl1pPr>
          </a:lstStyle>
          <a:p>
            <a:r>
              <a:rPr lang="en-US" dirty="0" smtClean="0"/>
              <a:t>Vertical Image with Paragraph Text</a:t>
            </a:r>
            <a:endParaRPr lang="en-IN" dirty="0"/>
          </a:p>
        </p:txBody>
      </p:sp>
      <p:sp>
        <p:nvSpPr>
          <p:cNvPr id="10" name="Picture Placeholder 8"/>
          <p:cNvSpPr>
            <a:spLocks noGrp="1"/>
          </p:cNvSpPr>
          <p:nvPr>
            <p:ph type="pic" sz="quarter" idx="10"/>
          </p:nvPr>
        </p:nvSpPr>
        <p:spPr>
          <a:xfrm>
            <a:off x="597520" y="1208314"/>
            <a:ext cx="5791200" cy="5029200"/>
          </a:xfrm>
        </p:spPr>
        <p:txBody>
          <a:bodyPr/>
          <a:lstStyle>
            <a:lvl1pPr>
              <a:buNone/>
              <a:defRPr>
                <a:solidFill>
                  <a:schemeClr val="accent2"/>
                </a:solidFill>
              </a:defRPr>
            </a:lvl1pPr>
          </a:lstStyle>
          <a:p>
            <a:r>
              <a:rPr lang="en-US" smtClean="0"/>
              <a:t>Click icon to add picture</a:t>
            </a:r>
            <a:endParaRPr lang="en-IN" dirty="0"/>
          </a:p>
        </p:txBody>
      </p:sp>
      <p:sp>
        <p:nvSpPr>
          <p:cNvPr id="7" name="Text Placeholder 6"/>
          <p:cNvSpPr>
            <a:spLocks noGrp="1"/>
          </p:cNvSpPr>
          <p:nvPr>
            <p:ph type="body" sz="quarter" idx="11" hasCustomPrompt="1"/>
          </p:nvPr>
        </p:nvSpPr>
        <p:spPr>
          <a:xfrm>
            <a:off x="6998320" y="2204357"/>
            <a:ext cx="4572000" cy="3063240"/>
          </a:xfrm>
        </p:spPr>
        <p:txBody>
          <a:bodyPr/>
          <a:lstStyle>
            <a:lvl1pPr marL="0" indent="0">
              <a:spcBef>
                <a:spcPts val="1200"/>
              </a:spcBef>
              <a:buNone/>
              <a:defRPr sz="2000" baseline="0"/>
            </a:lvl1pPr>
          </a:lstStyle>
          <a:p>
            <a:pPr lvl="0"/>
            <a:r>
              <a:rPr lang="en-US" dirty="0" smtClean="0"/>
              <a:t>This vertical image should be aligned left and centered vertically on the slide. Paragraph text should be centered vertically to the image. Insert text here. Keep text as minimal as possible</a:t>
            </a:r>
            <a:endParaRPr lang="en-US" dirty="0"/>
          </a:p>
        </p:txBody>
      </p:sp>
    </p:spTree>
    <p:extLst>
      <p:ext uri="{BB962C8B-B14F-4D97-AF65-F5344CB8AC3E}">
        <p14:creationId xmlns:p14="http://schemas.microsoft.com/office/powerpoint/2010/main" val="1061761633"/>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Vertical image with bullet points slide">
    <p:spTree>
      <p:nvGrpSpPr>
        <p:cNvPr id="1" name=""/>
        <p:cNvGrpSpPr/>
        <p:nvPr/>
      </p:nvGrpSpPr>
      <p:grpSpPr>
        <a:xfrm>
          <a:off x="0" y="0"/>
          <a:ext cx="0" cy="0"/>
          <a:chOff x="0" y="0"/>
          <a:chExt cx="0" cy="0"/>
        </a:xfrm>
      </p:grpSpPr>
      <p:sp>
        <p:nvSpPr>
          <p:cNvPr id="8" name="Title 1"/>
          <p:cNvSpPr>
            <a:spLocks noGrp="1"/>
          </p:cNvSpPr>
          <p:nvPr>
            <p:ph type="title" hasCustomPrompt="1"/>
          </p:nvPr>
        </p:nvSpPr>
        <p:spPr>
          <a:xfrm>
            <a:off x="597520" y="140511"/>
            <a:ext cx="10972800" cy="553998"/>
          </a:xfrm>
        </p:spPr>
        <p:txBody>
          <a:bodyPr/>
          <a:lstStyle>
            <a:lvl1pPr>
              <a:defRPr>
                <a:solidFill>
                  <a:schemeClr val="accent2"/>
                </a:solidFill>
              </a:defRPr>
            </a:lvl1pPr>
          </a:lstStyle>
          <a:p>
            <a:r>
              <a:rPr lang="en-US" dirty="0" smtClean="0"/>
              <a:t>Vertical Image with Bullet Points</a:t>
            </a:r>
            <a:endParaRPr lang="en-IN" dirty="0"/>
          </a:p>
        </p:txBody>
      </p:sp>
      <p:sp>
        <p:nvSpPr>
          <p:cNvPr id="11" name="Picture Placeholder 8"/>
          <p:cNvSpPr>
            <a:spLocks noGrp="1"/>
          </p:cNvSpPr>
          <p:nvPr>
            <p:ph type="pic" sz="quarter" idx="10"/>
          </p:nvPr>
        </p:nvSpPr>
        <p:spPr>
          <a:xfrm>
            <a:off x="597520" y="1208314"/>
            <a:ext cx="5791200" cy="5029200"/>
          </a:xfrm>
        </p:spPr>
        <p:txBody>
          <a:bodyPr/>
          <a:lstStyle>
            <a:lvl1pPr>
              <a:buNone/>
              <a:defRPr>
                <a:solidFill>
                  <a:schemeClr val="accent2"/>
                </a:solidFill>
              </a:defRPr>
            </a:lvl1pPr>
          </a:lstStyle>
          <a:p>
            <a:r>
              <a:rPr lang="en-US" smtClean="0"/>
              <a:t>Click icon to add picture</a:t>
            </a:r>
            <a:endParaRPr lang="en-IN" dirty="0"/>
          </a:p>
        </p:txBody>
      </p:sp>
      <p:sp>
        <p:nvSpPr>
          <p:cNvPr id="14" name="Text Placeholder 6"/>
          <p:cNvSpPr>
            <a:spLocks noGrp="1"/>
          </p:cNvSpPr>
          <p:nvPr>
            <p:ph type="body" sz="quarter" idx="11" hasCustomPrompt="1"/>
          </p:nvPr>
        </p:nvSpPr>
        <p:spPr>
          <a:xfrm>
            <a:off x="6998320" y="1204856"/>
            <a:ext cx="4572000" cy="5217458"/>
          </a:xfrm>
        </p:spPr>
        <p:txBody>
          <a:bodyPr/>
          <a:lstStyle>
            <a:lvl1pPr marL="342900" marR="0" indent="-342900" algn="l" defTabSz="457200" rtl="0" eaLnBrk="1" fontAlgn="auto" latinLnBrk="0" hangingPunct="1">
              <a:lnSpc>
                <a:spcPct val="100000"/>
              </a:lnSpc>
              <a:spcBef>
                <a:spcPts val="1200"/>
              </a:spcBef>
              <a:spcAft>
                <a:spcPts val="0"/>
              </a:spcAft>
              <a:buClr>
                <a:srgbClr val="00B0F0"/>
              </a:buClr>
              <a:buSzTx/>
              <a:buFont typeface="Wingdings" pitchFamily="2" charset="2"/>
              <a:buChar char="§"/>
              <a:tabLst/>
              <a:defRPr sz="2000" baseline="0"/>
            </a:lvl1pPr>
          </a:lstStyle>
          <a:p>
            <a:pPr lvl="0"/>
            <a:r>
              <a:rPr lang="en-US" dirty="0" smtClean="0"/>
              <a:t>This vertical image should be aligned left and centered vertically on the slide. Paragraph text should be centered vertically to the image. Insert text here. Keep text as minimal as possible</a:t>
            </a:r>
            <a:br>
              <a:rPr lang="en-US" dirty="0" smtClean="0"/>
            </a:br>
            <a:r>
              <a:rPr lang="en-US" dirty="0" smtClean="0"/>
              <a:t>This vertical image should be aligned left and centered vertically on the slide. </a:t>
            </a:r>
            <a:endParaRPr lang="en-US" dirty="0"/>
          </a:p>
        </p:txBody>
      </p:sp>
    </p:spTree>
    <p:extLst>
      <p:ext uri="{BB962C8B-B14F-4D97-AF65-F5344CB8AC3E}">
        <p14:creationId xmlns:p14="http://schemas.microsoft.com/office/powerpoint/2010/main" val="3290689127"/>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Horizontal image with paragraph text slide">
    <p:spTree>
      <p:nvGrpSpPr>
        <p:cNvPr id="1" name=""/>
        <p:cNvGrpSpPr/>
        <p:nvPr/>
      </p:nvGrpSpPr>
      <p:grpSpPr>
        <a:xfrm>
          <a:off x="0" y="0"/>
          <a:ext cx="0" cy="0"/>
          <a:chOff x="0" y="0"/>
          <a:chExt cx="0" cy="0"/>
        </a:xfrm>
      </p:grpSpPr>
      <p:sp>
        <p:nvSpPr>
          <p:cNvPr id="10" name="Picture Placeholder 8"/>
          <p:cNvSpPr>
            <a:spLocks noGrp="1"/>
          </p:cNvSpPr>
          <p:nvPr>
            <p:ph type="pic" sz="quarter" idx="10"/>
          </p:nvPr>
        </p:nvSpPr>
        <p:spPr>
          <a:xfrm>
            <a:off x="613835" y="1103313"/>
            <a:ext cx="10972800" cy="3200400"/>
          </a:xfrm>
        </p:spPr>
        <p:txBody>
          <a:bodyPr/>
          <a:lstStyle>
            <a:lvl1pPr>
              <a:buNone/>
              <a:defRPr>
                <a:solidFill>
                  <a:schemeClr val="accent2"/>
                </a:solidFill>
              </a:defRPr>
            </a:lvl1pPr>
          </a:lstStyle>
          <a:p>
            <a:r>
              <a:rPr lang="en-US" smtClean="0"/>
              <a:t>Click icon to add picture</a:t>
            </a:r>
            <a:endParaRPr lang="en-IN" dirty="0"/>
          </a:p>
        </p:txBody>
      </p:sp>
      <p:sp>
        <p:nvSpPr>
          <p:cNvPr id="5" name="Title 1"/>
          <p:cNvSpPr>
            <a:spLocks noGrp="1"/>
          </p:cNvSpPr>
          <p:nvPr>
            <p:ph type="title" hasCustomPrompt="1"/>
          </p:nvPr>
        </p:nvSpPr>
        <p:spPr>
          <a:xfrm>
            <a:off x="597520" y="140511"/>
            <a:ext cx="10972800" cy="548640"/>
          </a:xfrm>
        </p:spPr>
        <p:txBody>
          <a:bodyPr/>
          <a:lstStyle>
            <a:lvl1pPr>
              <a:defRPr>
                <a:solidFill>
                  <a:schemeClr val="accent2"/>
                </a:solidFill>
              </a:defRPr>
            </a:lvl1pPr>
          </a:lstStyle>
          <a:p>
            <a:r>
              <a:rPr lang="en-US" dirty="0" smtClean="0"/>
              <a:t>Horizontal image with paragraph text</a:t>
            </a:r>
            <a:endParaRPr lang="en-IN" dirty="0"/>
          </a:p>
        </p:txBody>
      </p:sp>
      <p:sp>
        <p:nvSpPr>
          <p:cNvPr id="6" name="Text Placeholder 6"/>
          <p:cNvSpPr>
            <a:spLocks noGrp="1"/>
          </p:cNvSpPr>
          <p:nvPr>
            <p:ph type="body" sz="quarter" idx="11" hasCustomPrompt="1"/>
          </p:nvPr>
        </p:nvSpPr>
        <p:spPr>
          <a:xfrm>
            <a:off x="616773" y="4754880"/>
            <a:ext cx="10915425" cy="1482634"/>
          </a:xfrm>
        </p:spPr>
        <p:txBody>
          <a:bodyPr/>
          <a:lstStyle>
            <a:lvl1pPr marL="0" indent="0">
              <a:spcBef>
                <a:spcPts val="1200"/>
              </a:spcBef>
              <a:buNone/>
              <a:defRPr sz="1800" baseline="0"/>
            </a:lvl1pPr>
          </a:lstStyle>
          <a:p>
            <a:pPr lvl="0"/>
            <a:r>
              <a:rPr lang="en-US" dirty="0" smtClean="0"/>
              <a:t>This vertical image should be aligned left and centered vertically on the slide. Paragraph text should be centered vertically to the image. Insert text here. Keep text as minimal as possible</a:t>
            </a:r>
            <a:endParaRPr lang="en-US" dirty="0"/>
          </a:p>
        </p:txBody>
      </p:sp>
    </p:spTree>
    <p:extLst>
      <p:ext uri="{BB962C8B-B14F-4D97-AF65-F5344CB8AC3E}">
        <p14:creationId xmlns:p14="http://schemas.microsoft.com/office/powerpoint/2010/main" val="4192544644"/>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Case study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8" name="Picture Placeholder 25"/>
          <p:cNvSpPr>
            <a:spLocks noGrp="1"/>
          </p:cNvSpPr>
          <p:nvPr>
            <p:ph type="pic" sz="quarter" idx="10"/>
          </p:nvPr>
        </p:nvSpPr>
        <p:spPr>
          <a:xfrm>
            <a:off x="602341" y="1668732"/>
            <a:ext cx="3454400" cy="3873500"/>
          </a:xfrm>
        </p:spPr>
        <p:txBody>
          <a:bodyPr/>
          <a:lstStyle/>
          <a:p>
            <a:r>
              <a:rPr lang="en-US" smtClean="0"/>
              <a:t>Click icon to add picture</a:t>
            </a:r>
            <a:endParaRPr lang="en-IN" dirty="0"/>
          </a:p>
        </p:txBody>
      </p:sp>
      <p:sp>
        <p:nvSpPr>
          <p:cNvPr id="37" name="Text Placeholder 34"/>
          <p:cNvSpPr>
            <a:spLocks noGrp="1"/>
          </p:cNvSpPr>
          <p:nvPr>
            <p:ph type="body" sz="quarter" idx="12" hasCustomPrompt="1"/>
          </p:nvPr>
        </p:nvSpPr>
        <p:spPr>
          <a:xfrm>
            <a:off x="5321300" y="1565730"/>
            <a:ext cx="6248401" cy="1152071"/>
          </a:xfrm>
        </p:spPr>
        <p:txBody>
          <a:bodyPr>
            <a:normAutofit/>
          </a:bodyPr>
          <a:lstStyle>
            <a:lvl1pPr marL="0" indent="0">
              <a:buClr>
                <a:srgbClr val="0070C0"/>
              </a:buClr>
              <a:buFont typeface="Webdings" pitchFamily="18" charset="2"/>
              <a:buNone/>
              <a:tabLst/>
              <a:defRPr lang="en-US" sz="1200" kern="1200" baseline="0" dirty="0" smtClean="0">
                <a:solidFill>
                  <a:schemeClr val="accent2"/>
                </a:solidFill>
                <a:latin typeface="+mn-lt"/>
                <a:ea typeface="+mn-ea"/>
                <a:cs typeface="+mn-cs"/>
              </a:defRPr>
            </a:lvl1pPr>
            <a:lvl2pPr>
              <a:buNone/>
              <a:defRPr lang="en-US" sz="1600" kern="1200" dirty="0" smtClean="0">
                <a:solidFill>
                  <a:srgbClr val="404040"/>
                </a:solidFill>
                <a:latin typeface="+mn-lt"/>
                <a:ea typeface="+mn-ea"/>
                <a:cs typeface="+mn-cs"/>
              </a:defRPr>
            </a:lvl2pPr>
            <a:lvl3pPr>
              <a:buNone/>
              <a:defRPr lang="en-US" sz="1600" kern="1200" dirty="0" smtClean="0">
                <a:solidFill>
                  <a:srgbClr val="404040"/>
                </a:solidFill>
                <a:latin typeface="+mn-lt"/>
                <a:ea typeface="+mn-ea"/>
                <a:cs typeface="+mn-cs"/>
              </a:defRPr>
            </a:lvl3pPr>
            <a:lvl4pPr>
              <a:buNone/>
              <a:defRPr lang="en-US" sz="1600" kern="1200" dirty="0" smtClean="0">
                <a:solidFill>
                  <a:srgbClr val="404040"/>
                </a:solidFill>
                <a:latin typeface="+mn-lt"/>
                <a:ea typeface="+mn-ea"/>
                <a:cs typeface="+mn-cs"/>
              </a:defRPr>
            </a:lvl4pPr>
            <a:lvl5pPr>
              <a:buNone/>
              <a:defRPr lang="en-IN" sz="1600" kern="1200" dirty="0" smtClean="0">
                <a:solidFill>
                  <a:srgbClr val="404040"/>
                </a:solidFill>
                <a:latin typeface="+mn-lt"/>
                <a:ea typeface="+mn-ea"/>
                <a:cs typeface="+mn-cs"/>
              </a:defRPr>
            </a:lvl5pPr>
          </a:lstStyle>
          <a:p>
            <a:pPr lvl="0"/>
            <a:r>
              <a:rPr lang="en-US" dirty="0" smtClean="0"/>
              <a:t>Up to 5 lines of text is allowed beyond which it will not be readable.</a:t>
            </a:r>
          </a:p>
        </p:txBody>
      </p:sp>
      <p:sp>
        <p:nvSpPr>
          <p:cNvPr id="15" name="Text Placeholder 31"/>
          <p:cNvSpPr>
            <a:spLocks noGrp="1"/>
          </p:cNvSpPr>
          <p:nvPr>
            <p:ph type="body" sz="quarter" idx="14" hasCustomPrompt="1"/>
          </p:nvPr>
        </p:nvSpPr>
        <p:spPr>
          <a:xfrm>
            <a:off x="5321299" y="1162957"/>
            <a:ext cx="6231467" cy="261258"/>
          </a:xfrm>
        </p:spPr>
        <p:txBody>
          <a:bodyPr anchor="ctr">
            <a:noAutofit/>
          </a:bodyPr>
          <a:lstStyle>
            <a:lvl1pPr>
              <a:buNone/>
              <a:defRPr lang="en-US" sz="1400" b="1" kern="1200" dirty="0" smtClean="0">
                <a:solidFill>
                  <a:schemeClr val="accent2"/>
                </a:solidFill>
                <a:latin typeface="+mj-lt"/>
                <a:ea typeface="+mj-ea"/>
                <a:cs typeface="+mj-cs"/>
              </a:defRPr>
            </a:lvl1pPr>
          </a:lstStyle>
          <a:p>
            <a:pPr lvl="0"/>
            <a:r>
              <a:rPr lang="en-US" dirty="0" smtClean="0"/>
              <a:t>Opportunity</a:t>
            </a:r>
          </a:p>
        </p:txBody>
      </p:sp>
      <p:sp>
        <p:nvSpPr>
          <p:cNvPr id="19" name="Title 1"/>
          <p:cNvSpPr>
            <a:spLocks noGrp="1"/>
          </p:cNvSpPr>
          <p:nvPr>
            <p:ph type="title" hasCustomPrompt="1"/>
          </p:nvPr>
        </p:nvSpPr>
        <p:spPr>
          <a:xfrm>
            <a:off x="609600" y="140511"/>
            <a:ext cx="10972800" cy="553998"/>
          </a:xfrm>
        </p:spPr>
        <p:txBody>
          <a:bodyPr/>
          <a:lstStyle>
            <a:lvl1pPr marL="0" marR="0" indent="0" defTabSz="457200" rtl="0" eaLnBrk="1" fontAlgn="auto" latinLnBrk="0" hangingPunct="1">
              <a:lnSpc>
                <a:spcPct val="100000"/>
              </a:lnSpc>
              <a:spcBef>
                <a:spcPct val="0"/>
              </a:spcBef>
              <a:spcAft>
                <a:spcPts val="0"/>
              </a:spcAft>
              <a:tabLst/>
              <a:defRPr baseline="0">
                <a:solidFill>
                  <a:schemeClr val="accent2"/>
                </a:solidFill>
              </a:defRPr>
            </a:lvl1pPr>
          </a:lstStyle>
          <a:p>
            <a:pPr marL="0" marR="0" lvl="0" indent="0" defTabSz="457200" rtl="0" eaLnBrk="1" fontAlgn="auto" latinLnBrk="0" hangingPunct="1">
              <a:lnSpc>
                <a:spcPct val="100000"/>
              </a:lnSpc>
              <a:spcBef>
                <a:spcPct val="0"/>
              </a:spcBef>
              <a:spcAft>
                <a:spcPts val="0"/>
              </a:spcAft>
              <a:tabLst/>
              <a:defRPr/>
            </a:pPr>
            <a:r>
              <a:rPr lang="en-US" dirty="0" smtClean="0"/>
              <a:t>Case Study Heading</a:t>
            </a:r>
            <a:endParaRPr kumimoji="0" lang="en-US" sz="3000" b="1" i="0" u="none" strike="noStrike" kern="1200" cap="none" spc="0" normalizeH="0" baseline="0" noProof="0" dirty="0">
              <a:ln>
                <a:noFill/>
              </a:ln>
              <a:solidFill>
                <a:schemeClr val="tx1">
                  <a:lumMod val="65000"/>
                  <a:lumOff val="35000"/>
                </a:schemeClr>
              </a:solidFill>
              <a:effectLst/>
              <a:uLnTx/>
              <a:uFillTx/>
              <a:latin typeface="+mj-lt"/>
              <a:ea typeface="+mn-ea"/>
              <a:cs typeface="Arial"/>
            </a:endParaRPr>
          </a:p>
        </p:txBody>
      </p:sp>
      <p:sp>
        <p:nvSpPr>
          <p:cNvPr id="32" name="Text Placeholder 34"/>
          <p:cNvSpPr>
            <a:spLocks noGrp="1"/>
          </p:cNvSpPr>
          <p:nvPr>
            <p:ph type="body" sz="quarter" idx="19" hasCustomPrompt="1"/>
          </p:nvPr>
        </p:nvSpPr>
        <p:spPr>
          <a:xfrm>
            <a:off x="5321300" y="3246436"/>
            <a:ext cx="6248401" cy="1152071"/>
          </a:xfrm>
        </p:spPr>
        <p:txBody>
          <a:bodyPr>
            <a:normAutofit/>
          </a:bodyPr>
          <a:lstStyle>
            <a:lvl1pPr marL="0" indent="0">
              <a:buClr>
                <a:srgbClr val="0070C0"/>
              </a:buClr>
              <a:buFont typeface="Webdings" pitchFamily="18" charset="2"/>
              <a:buNone/>
              <a:tabLst/>
              <a:defRPr lang="en-US" sz="1200" kern="1200" baseline="0" dirty="0" smtClean="0">
                <a:solidFill>
                  <a:schemeClr val="accent2"/>
                </a:solidFill>
                <a:latin typeface="+mn-lt"/>
                <a:ea typeface="+mn-ea"/>
                <a:cs typeface="+mn-cs"/>
              </a:defRPr>
            </a:lvl1pPr>
            <a:lvl2pPr>
              <a:buNone/>
              <a:defRPr lang="en-US" sz="1600" kern="1200" dirty="0" smtClean="0">
                <a:solidFill>
                  <a:srgbClr val="404040"/>
                </a:solidFill>
                <a:latin typeface="+mn-lt"/>
                <a:ea typeface="+mn-ea"/>
                <a:cs typeface="+mn-cs"/>
              </a:defRPr>
            </a:lvl2pPr>
            <a:lvl3pPr>
              <a:buNone/>
              <a:defRPr lang="en-US" sz="1600" kern="1200" dirty="0" smtClean="0">
                <a:solidFill>
                  <a:srgbClr val="404040"/>
                </a:solidFill>
                <a:latin typeface="+mn-lt"/>
                <a:ea typeface="+mn-ea"/>
                <a:cs typeface="+mn-cs"/>
              </a:defRPr>
            </a:lvl3pPr>
            <a:lvl4pPr>
              <a:buNone/>
              <a:defRPr lang="en-US" sz="1600" kern="1200" dirty="0" smtClean="0">
                <a:solidFill>
                  <a:srgbClr val="404040"/>
                </a:solidFill>
                <a:latin typeface="+mn-lt"/>
                <a:ea typeface="+mn-ea"/>
                <a:cs typeface="+mn-cs"/>
              </a:defRPr>
            </a:lvl4pPr>
            <a:lvl5pPr>
              <a:buNone/>
              <a:defRPr lang="en-IN" sz="1600" kern="1200" dirty="0" smtClean="0">
                <a:solidFill>
                  <a:srgbClr val="404040"/>
                </a:solidFill>
                <a:latin typeface="+mn-lt"/>
                <a:ea typeface="+mn-ea"/>
                <a:cs typeface="+mn-cs"/>
              </a:defRPr>
            </a:lvl5pPr>
          </a:lstStyle>
          <a:p>
            <a:pPr lvl="0"/>
            <a:r>
              <a:rPr lang="en-US" dirty="0" smtClean="0"/>
              <a:t>Up to 5 lines of text is allowed beyond which it will not be readable.</a:t>
            </a:r>
          </a:p>
        </p:txBody>
      </p:sp>
      <p:sp>
        <p:nvSpPr>
          <p:cNvPr id="33" name="Text Placeholder 31"/>
          <p:cNvSpPr>
            <a:spLocks noGrp="1"/>
          </p:cNvSpPr>
          <p:nvPr>
            <p:ph type="body" sz="quarter" idx="20" hasCustomPrompt="1"/>
          </p:nvPr>
        </p:nvSpPr>
        <p:spPr>
          <a:xfrm>
            <a:off x="5321299" y="2843663"/>
            <a:ext cx="6231467" cy="261258"/>
          </a:xfrm>
        </p:spPr>
        <p:txBody>
          <a:bodyPr anchor="ctr">
            <a:noAutofit/>
          </a:bodyPr>
          <a:lstStyle>
            <a:lvl1pPr>
              <a:buNone/>
              <a:defRPr lang="en-US" sz="1400" b="1" kern="1200" baseline="0" dirty="0" smtClean="0">
                <a:solidFill>
                  <a:schemeClr val="accent2"/>
                </a:solidFill>
                <a:latin typeface="+mj-lt"/>
                <a:ea typeface="+mj-ea"/>
                <a:cs typeface="+mj-cs"/>
              </a:defRPr>
            </a:lvl1pPr>
          </a:lstStyle>
          <a:p>
            <a:pPr lvl="0"/>
            <a:r>
              <a:rPr lang="en-US" dirty="0" smtClean="0"/>
              <a:t>Challenges </a:t>
            </a:r>
          </a:p>
        </p:txBody>
      </p:sp>
      <p:sp>
        <p:nvSpPr>
          <p:cNvPr id="35" name="Text Placeholder 34"/>
          <p:cNvSpPr>
            <a:spLocks noGrp="1"/>
          </p:cNvSpPr>
          <p:nvPr>
            <p:ph type="body" sz="quarter" idx="21" hasCustomPrompt="1"/>
          </p:nvPr>
        </p:nvSpPr>
        <p:spPr>
          <a:xfrm>
            <a:off x="5321300" y="4962547"/>
            <a:ext cx="6248401" cy="1152071"/>
          </a:xfrm>
        </p:spPr>
        <p:txBody>
          <a:bodyPr>
            <a:normAutofit/>
          </a:bodyPr>
          <a:lstStyle>
            <a:lvl1pPr marL="0" indent="0">
              <a:buClr>
                <a:srgbClr val="0070C0"/>
              </a:buClr>
              <a:buFont typeface="Webdings" pitchFamily="18" charset="2"/>
              <a:buNone/>
              <a:tabLst/>
              <a:defRPr lang="en-US" sz="1200" kern="1200" baseline="0" dirty="0" smtClean="0">
                <a:solidFill>
                  <a:schemeClr val="accent2"/>
                </a:solidFill>
                <a:latin typeface="+mn-lt"/>
                <a:ea typeface="+mn-ea"/>
                <a:cs typeface="+mn-cs"/>
              </a:defRPr>
            </a:lvl1pPr>
            <a:lvl2pPr>
              <a:buNone/>
              <a:defRPr lang="en-US" sz="1600" kern="1200" dirty="0" smtClean="0">
                <a:solidFill>
                  <a:srgbClr val="404040"/>
                </a:solidFill>
                <a:latin typeface="+mn-lt"/>
                <a:ea typeface="+mn-ea"/>
                <a:cs typeface="+mn-cs"/>
              </a:defRPr>
            </a:lvl2pPr>
            <a:lvl3pPr>
              <a:buNone/>
              <a:defRPr lang="en-US" sz="1600" kern="1200" dirty="0" smtClean="0">
                <a:solidFill>
                  <a:srgbClr val="404040"/>
                </a:solidFill>
                <a:latin typeface="+mn-lt"/>
                <a:ea typeface="+mn-ea"/>
                <a:cs typeface="+mn-cs"/>
              </a:defRPr>
            </a:lvl3pPr>
            <a:lvl4pPr>
              <a:buNone/>
              <a:defRPr lang="en-US" sz="1600" kern="1200" dirty="0" smtClean="0">
                <a:solidFill>
                  <a:srgbClr val="404040"/>
                </a:solidFill>
                <a:latin typeface="+mn-lt"/>
                <a:ea typeface="+mn-ea"/>
                <a:cs typeface="+mn-cs"/>
              </a:defRPr>
            </a:lvl4pPr>
            <a:lvl5pPr>
              <a:buNone/>
              <a:defRPr lang="en-IN" sz="1600" kern="1200" dirty="0" smtClean="0">
                <a:solidFill>
                  <a:srgbClr val="404040"/>
                </a:solidFill>
                <a:latin typeface="+mn-lt"/>
                <a:ea typeface="+mn-ea"/>
                <a:cs typeface="+mn-cs"/>
              </a:defRPr>
            </a:lvl5pPr>
          </a:lstStyle>
          <a:p>
            <a:pPr lvl="0"/>
            <a:r>
              <a:rPr lang="en-US" dirty="0" smtClean="0"/>
              <a:t>Up to 5 lines of text is allowed beyond which it will not be readable.</a:t>
            </a:r>
          </a:p>
        </p:txBody>
      </p:sp>
      <p:sp>
        <p:nvSpPr>
          <p:cNvPr id="36" name="Text Placeholder 31"/>
          <p:cNvSpPr>
            <a:spLocks noGrp="1"/>
          </p:cNvSpPr>
          <p:nvPr>
            <p:ph type="body" sz="quarter" idx="22" hasCustomPrompt="1"/>
          </p:nvPr>
        </p:nvSpPr>
        <p:spPr>
          <a:xfrm>
            <a:off x="5321299" y="4559774"/>
            <a:ext cx="6231467" cy="261258"/>
          </a:xfrm>
        </p:spPr>
        <p:txBody>
          <a:bodyPr anchor="ctr">
            <a:noAutofit/>
          </a:bodyPr>
          <a:lstStyle>
            <a:lvl1pPr>
              <a:buNone/>
              <a:defRPr lang="en-US" sz="1400" b="1" kern="1200" dirty="0" smtClean="0">
                <a:solidFill>
                  <a:schemeClr val="accent2"/>
                </a:solidFill>
                <a:latin typeface="+mj-lt"/>
                <a:ea typeface="+mj-ea"/>
                <a:cs typeface="+mj-cs"/>
              </a:defRPr>
            </a:lvl1pPr>
          </a:lstStyle>
          <a:p>
            <a:pPr lvl="0"/>
            <a:r>
              <a:rPr lang="en-US" dirty="0" smtClean="0"/>
              <a:t>Solution</a:t>
            </a:r>
          </a:p>
        </p:txBody>
      </p:sp>
      <p:sp>
        <p:nvSpPr>
          <p:cNvPr id="10" name="Text Placeholder 2"/>
          <p:cNvSpPr>
            <a:spLocks noGrp="1"/>
          </p:cNvSpPr>
          <p:nvPr>
            <p:ph type="body" sz="quarter" idx="18" hasCustomPrompt="1"/>
          </p:nvPr>
        </p:nvSpPr>
        <p:spPr>
          <a:xfrm rot="16200000">
            <a:off x="4910520" y="1192689"/>
            <a:ext cx="310896" cy="207264"/>
          </a:xfrm>
          <a:prstGeom prst="flowChartExtract">
            <a:avLst/>
          </a:prstGeom>
          <a:solidFill>
            <a:srgbClr val="03A3DF"/>
          </a:solidFill>
          <a:ln w="3175">
            <a:solidFill>
              <a:schemeClr val="accent2">
                <a:lumMod val="20000"/>
                <a:lumOff val="80000"/>
              </a:schemeClr>
            </a:solidFill>
          </a:ln>
        </p:spPr>
        <p:txBody>
          <a:bodyPr/>
          <a:lstStyle>
            <a:lvl1pPr marL="0" indent="0">
              <a:buNone/>
              <a:defRPr>
                <a:noFill/>
              </a:defRPr>
            </a:lvl1pPr>
          </a:lstStyle>
          <a:p>
            <a:pPr lvl="0"/>
            <a:r>
              <a:rPr lang="en-US" dirty="0" smtClean="0"/>
              <a:t>.</a:t>
            </a:r>
            <a:endParaRPr lang="en-US" dirty="0"/>
          </a:p>
        </p:txBody>
      </p:sp>
      <p:sp>
        <p:nvSpPr>
          <p:cNvPr id="11" name="Text Placeholder 2"/>
          <p:cNvSpPr>
            <a:spLocks noGrp="1"/>
          </p:cNvSpPr>
          <p:nvPr>
            <p:ph type="body" sz="quarter" idx="23" hasCustomPrompt="1"/>
          </p:nvPr>
        </p:nvSpPr>
        <p:spPr>
          <a:xfrm rot="16200000">
            <a:off x="4910520" y="2880741"/>
            <a:ext cx="310896" cy="207264"/>
          </a:xfrm>
          <a:prstGeom prst="flowChartExtract">
            <a:avLst/>
          </a:prstGeom>
          <a:solidFill>
            <a:srgbClr val="03A3DF"/>
          </a:solidFill>
          <a:ln w="3175">
            <a:solidFill>
              <a:schemeClr val="accent2">
                <a:lumMod val="20000"/>
                <a:lumOff val="80000"/>
              </a:schemeClr>
            </a:solidFill>
          </a:ln>
        </p:spPr>
        <p:txBody>
          <a:bodyPr/>
          <a:lstStyle>
            <a:lvl1pPr marL="0" indent="0">
              <a:buNone/>
              <a:defRPr>
                <a:noFill/>
              </a:defRPr>
            </a:lvl1pPr>
          </a:lstStyle>
          <a:p>
            <a:pPr lvl="0"/>
            <a:r>
              <a:rPr lang="en-US" dirty="0" smtClean="0"/>
              <a:t>.</a:t>
            </a:r>
            <a:endParaRPr lang="en-US" dirty="0"/>
          </a:p>
        </p:txBody>
      </p:sp>
      <p:sp>
        <p:nvSpPr>
          <p:cNvPr id="12" name="Text Placeholder 2"/>
          <p:cNvSpPr>
            <a:spLocks noGrp="1"/>
          </p:cNvSpPr>
          <p:nvPr>
            <p:ph type="body" sz="quarter" idx="24" hasCustomPrompt="1"/>
          </p:nvPr>
        </p:nvSpPr>
        <p:spPr>
          <a:xfrm rot="16200000">
            <a:off x="4910520" y="4598654"/>
            <a:ext cx="310896" cy="207264"/>
          </a:xfrm>
          <a:prstGeom prst="flowChartExtract">
            <a:avLst/>
          </a:prstGeom>
          <a:solidFill>
            <a:srgbClr val="03A3DF"/>
          </a:solidFill>
          <a:ln w="3175">
            <a:solidFill>
              <a:schemeClr val="accent2">
                <a:lumMod val="20000"/>
                <a:lumOff val="80000"/>
              </a:schemeClr>
            </a:solidFill>
          </a:ln>
        </p:spPr>
        <p:txBody>
          <a:bodyPr/>
          <a:lstStyle>
            <a:lvl1pPr marL="0" indent="0">
              <a:buNone/>
              <a:defRPr>
                <a:noFill/>
              </a:defRPr>
            </a:lvl1pPr>
          </a:lstStyle>
          <a:p>
            <a:pPr lvl="0"/>
            <a:r>
              <a:rPr lang="en-US" dirty="0" smtClean="0"/>
              <a:t>.</a:t>
            </a:r>
            <a:endParaRPr lang="en-US" dirty="0"/>
          </a:p>
        </p:txBody>
      </p:sp>
    </p:spTree>
    <p:extLst>
      <p:ext uri="{BB962C8B-B14F-4D97-AF65-F5344CB8AC3E}">
        <p14:creationId xmlns:p14="http://schemas.microsoft.com/office/powerpoint/2010/main" val="1495578840"/>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1_Case study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9" name="Title 1"/>
          <p:cNvSpPr>
            <a:spLocks noGrp="1"/>
          </p:cNvSpPr>
          <p:nvPr>
            <p:ph type="title" hasCustomPrompt="1"/>
          </p:nvPr>
        </p:nvSpPr>
        <p:spPr>
          <a:xfrm>
            <a:off x="609600" y="140511"/>
            <a:ext cx="10972800" cy="553998"/>
          </a:xfrm>
        </p:spPr>
        <p:txBody>
          <a:bodyPr/>
          <a:lstStyle>
            <a:lvl1pPr marL="0" marR="0" indent="0" defTabSz="457200" rtl="0" eaLnBrk="1" fontAlgn="auto" latinLnBrk="0" hangingPunct="1">
              <a:lnSpc>
                <a:spcPct val="100000"/>
              </a:lnSpc>
              <a:spcBef>
                <a:spcPct val="0"/>
              </a:spcBef>
              <a:spcAft>
                <a:spcPts val="0"/>
              </a:spcAft>
              <a:tabLst/>
              <a:defRPr baseline="0">
                <a:solidFill>
                  <a:schemeClr val="accent2"/>
                </a:solidFill>
              </a:defRPr>
            </a:lvl1pPr>
          </a:lstStyle>
          <a:p>
            <a:pPr marL="0" marR="0" lvl="0" indent="0" defTabSz="457200" rtl="0" eaLnBrk="1" fontAlgn="auto" latinLnBrk="0" hangingPunct="1">
              <a:lnSpc>
                <a:spcPct val="100000"/>
              </a:lnSpc>
              <a:spcBef>
                <a:spcPct val="0"/>
              </a:spcBef>
              <a:spcAft>
                <a:spcPts val="0"/>
              </a:spcAft>
              <a:tabLst/>
              <a:defRPr/>
            </a:pPr>
            <a:r>
              <a:rPr lang="en-US" dirty="0" smtClean="0"/>
              <a:t>Image Slide</a:t>
            </a:r>
            <a:endParaRPr kumimoji="0" lang="en-US" sz="3000" b="1" i="0" u="none" strike="noStrike" kern="1200" cap="none" spc="0" normalizeH="0" baseline="0" noProof="0" dirty="0">
              <a:ln>
                <a:noFill/>
              </a:ln>
              <a:solidFill>
                <a:schemeClr val="tx1">
                  <a:lumMod val="65000"/>
                  <a:lumOff val="35000"/>
                </a:schemeClr>
              </a:solidFill>
              <a:effectLst/>
              <a:uLnTx/>
              <a:uFillTx/>
              <a:latin typeface="+mj-lt"/>
              <a:ea typeface="+mn-ea"/>
              <a:cs typeface="Arial"/>
            </a:endParaRPr>
          </a:p>
        </p:txBody>
      </p:sp>
      <p:sp>
        <p:nvSpPr>
          <p:cNvPr id="13" name="Text Placeholder 6"/>
          <p:cNvSpPr>
            <a:spLocks noGrp="1"/>
          </p:cNvSpPr>
          <p:nvPr>
            <p:ph type="body" sz="quarter" idx="11" hasCustomPrompt="1"/>
          </p:nvPr>
        </p:nvSpPr>
        <p:spPr>
          <a:xfrm>
            <a:off x="5364480" y="1421306"/>
            <a:ext cx="6167717" cy="4581461"/>
          </a:xfrm>
        </p:spPr>
        <p:txBody>
          <a:bodyPr/>
          <a:lstStyle>
            <a:lvl1pPr marL="0" indent="0">
              <a:spcBef>
                <a:spcPts val="1200"/>
              </a:spcBef>
              <a:buNone/>
              <a:defRPr sz="2000" baseline="0"/>
            </a:lvl1pPr>
          </a:lstStyle>
          <a:p>
            <a:pPr lvl="0"/>
            <a:r>
              <a:rPr lang="en-US" dirty="0" smtClean="0"/>
              <a:t>Insert Text Here</a:t>
            </a:r>
            <a:endParaRPr lang="en-US" dirty="0"/>
          </a:p>
        </p:txBody>
      </p:sp>
      <p:sp>
        <p:nvSpPr>
          <p:cNvPr id="14" name="Picture Placeholder 25"/>
          <p:cNvSpPr>
            <a:spLocks noGrp="1"/>
          </p:cNvSpPr>
          <p:nvPr>
            <p:ph type="pic" sz="quarter" idx="10"/>
          </p:nvPr>
        </p:nvSpPr>
        <p:spPr>
          <a:xfrm>
            <a:off x="602341" y="1775285"/>
            <a:ext cx="3454400" cy="3873500"/>
          </a:xfrm>
        </p:spPr>
        <p:txBody>
          <a:bodyPr/>
          <a:lstStyle/>
          <a:p>
            <a:r>
              <a:rPr lang="en-US" smtClean="0"/>
              <a:t>Click icon to add picture</a:t>
            </a:r>
            <a:endParaRPr lang="en-IN" dirty="0"/>
          </a:p>
        </p:txBody>
      </p:sp>
    </p:spTree>
    <p:extLst>
      <p:ext uri="{BB962C8B-B14F-4D97-AF65-F5344CB8AC3E}">
        <p14:creationId xmlns:p14="http://schemas.microsoft.com/office/powerpoint/2010/main" val="1632048538"/>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defRPr sz="800" b="0" i="0">
                <a:solidFill>
                  <a:srgbClr val="4D4E5C"/>
                </a:solidFill>
                <a:latin typeface="Arial"/>
                <a:cs typeface="Arial"/>
              </a:defRPr>
            </a:lvl1pPr>
          </a:lstStyle>
          <a:p>
            <a:pPr marL="16933">
              <a:spcBef>
                <a:spcPts val="53"/>
              </a:spcBef>
            </a:pPr>
            <a:r>
              <a:rPr lang="en-IN" smtClean="0"/>
              <a:t>© </a:t>
            </a:r>
            <a:r>
              <a:rPr lang="en-IN" spc="-7" smtClean="0"/>
              <a:t>2017</a:t>
            </a:r>
            <a:r>
              <a:rPr lang="en-IN" spc="127" smtClean="0"/>
              <a:t> </a:t>
            </a:r>
            <a:r>
              <a:rPr lang="en-IN" spc="7" smtClean="0"/>
              <a:t>Wipro</a:t>
            </a:r>
            <a:endParaRPr lang="en-IN" spc="7" dirty="0"/>
          </a:p>
        </p:txBody>
      </p:sp>
      <p:sp>
        <p:nvSpPr>
          <p:cNvPr id="3" name="Holder 3"/>
          <p:cNvSpPr>
            <a:spLocks noGrp="1"/>
          </p:cNvSpPr>
          <p:nvPr>
            <p:ph type="dt" sz="half" idx="6"/>
          </p:nvPr>
        </p:nvSpPr>
        <p:spPr/>
        <p:txBody>
          <a:bodyPr lIns="0" tIns="0" rIns="0" bIns="0"/>
          <a:lstStyle>
            <a:lvl1pPr>
              <a:defRPr sz="1067" b="0" i="0">
                <a:solidFill>
                  <a:schemeClr val="tx1"/>
                </a:solidFill>
                <a:latin typeface="Trebuchet MS"/>
                <a:cs typeface="Trebuchet MS"/>
              </a:defRPr>
            </a:lvl1pPr>
          </a:lstStyle>
          <a:p>
            <a:pPr marL="16933">
              <a:lnSpc>
                <a:spcPts val="1153"/>
              </a:lnSpc>
            </a:pPr>
            <a:r>
              <a:rPr lang="en-IN" spc="-60" smtClean="0"/>
              <a:t>Sensitivity: </a:t>
            </a:r>
            <a:r>
              <a:rPr lang="en-IN" spc="-53" smtClean="0"/>
              <a:t>Internal </a:t>
            </a:r>
            <a:r>
              <a:rPr lang="en-IN" spc="-27" smtClean="0"/>
              <a:t>&amp;</a:t>
            </a:r>
            <a:r>
              <a:rPr lang="en-IN" spc="-100" smtClean="0"/>
              <a:t> </a:t>
            </a:r>
            <a:r>
              <a:rPr lang="en-IN" spc="-60" smtClean="0"/>
              <a:t>Restricted</a:t>
            </a:r>
            <a:endParaRPr lang="en-IN" spc="-60" dirty="0"/>
          </a:p>
        </p:txBody>
      </p:sp>
      <p:sp>
        <p:nvSpPr>
          <p:cNvPr id="4" name="Holder 4"/>
          <p:cNvSpPr>
            <a:spLocks noGrp="1"/>
          </p:cNvSpPr>
          <p:nvPr>
            <p:ph type="sldNum" sz="quarter" idx="7"/>
          </p:nvPr>
        </p:nvSpPr>
        <p:spPr/>
        <p:txBody>
          <a:bodyPr lIns="0" tIns="0" rIns="0" bIns="0"/>
          <a:lstStyle>
            <a:lvl1pPr>
              <a:defRPr sz="800" b="0" i="0">
                <a:solidFill>
                  <a:srgbClr val="4D4E5C"/>
                </a:solidFill>
                <a:latin typeface="Arial"/>
                <a:cs typeface="Arial"/>
              </a:defRPr>
            </a:lvl1pPr>
          </a:lstStyle>
          <a:p>
            <a:pPr marL="33866">
              <a:spcBef>
                <a:spcPts val="53"/>
              </a:spcBef>
            </a:pPr>
            <a:fld id="{81D60167-4931-47E6-BA6A-407CBD079E47}" type="slidenum">
              <a:rPr lang="en-IN" spc="-7" smtClean="0"/>
              <a:pPr marL="33866">
                <a:spcBef>
                  <a:spcPts val="53"/>
                </a:spcBef>
              </a:pPr>
              <a:t>‹#›</a:t>
            </a:fld>
            <a:endParaRPr lang="en-IN" spc="-7" dirty="0"/>
          </a:p>
        </p:txBody>
      </p:sp>
    </p:spTree>
    <p:extLst>
      <p:ext uri="{BB962C8B-B14F-4D97-AF65-F5344CB8AC3E}">
        <p14:creationId xmlns:p14="http://schemas.microsoft.com/office/powerpoint/2010/main" val="393060441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obj">
  <p:cSld name="Title Slide">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0" y="0"/>
            <a:ext cx="12192000" cy="6858000"/>
          </a:xfrm>
          <a:custGeom>
            <a:avLst/>
            <a:gdLst/>
            <a:ahLst/>
            <a:cxnLst/>
            <a:rect l="l" t="t" r="r" b="b"/>
            <a:pathLst>
              <a:path w="9144000" h="5143500">
                <a:moveTo>
                  <a:pt x="0" y="5143500"/>
                </a:moveTo>
                <a:lnTo>
                  <a:pt x="9144000" y="5143500"/>
                </a:lnTo>
                <a:lnTo>
                  <a:pt x="9144000" y="0"/>
                </a:lnTo>
                <a:lnTo>
                  <a:pt x="0" y="0"/>
                </a:lnTo>
                <a:lnTo>
                  <a:pt x="0" y="5143500"/>
                </a:lnTo>
                <a:close/>
              </a:path>
            </a:pathLst>
          </a:custGeom>
          <a:solidFill>
            <a:srgbClr val="F1F1F1"/>
          </a:solidFill>
        </p:spPr>
        <p:txBody>
          <a:bodyPr wrap="square" lIns="0" tIns="0" rIns="0" bIns="0" rtlCol="0"/>
          <a:lstStyle/>
          <a:p>
            <a:endParaRPr/>
          </a:p>
        </p:txBody>
      </p:sp>
      <p:sp>
        <p:nvSpPr>
          <p:cNvPr id="17" name="bk object 17"/>
          <p:cNvSpPr/>
          <p:nvPr/>
        </p:nvSpPr>
        <p:spPr>
          <a:xfrm>
            <a:off x="9550401" y="6595871"/>
            <a:ext cx="2644985" cy="0"/>
          </a:xfrm>
          <a:custGeom>
            <a:avLst/>
            <a:gdLst/>
            <a:ahLst/>
            <a:cxnLst/>
            <a:rect l="l" t="t" r="r" b="b"/>
            <a:pathLst>
              <a:path w="1983740">
                <a:moveTo>
                  <a:pt x="0" y="0"/>
                </a:moveTo>
                <a:lnTo>
                  <a:pt x="1983613" y="0"/>
                </a:lnTo>
              </a:path>
            </a:pathLst>
          </a:custGeom>
          <a:ln w="6096">
            <a:solidFill>
              <a:srgbClr val="4D4E5C"/>
            </a:solidFill>
          </a:ln>
        </p:spPr>
        <p:txBody>
          <a:bodyPr wrap="square" lIns="0" tIns="0" rIns="0" bIns="0" rtlCol="0"/>
          <a:lstStyle/>
          <a:p>
            <a:endParaRPr/>
          </a:p>
        </p:txBody>
      </p:sp>
      <p:sp>
        <p:nvSpPr>
          <p:cNvPr id="2" name="Holder 2"/>
          <p:cNvSpPr>
            <a:spLocks noGrp="1"/>
          </p:cNvSpPr>
          <p:nvPr>
            <p:ph type="ctrTitle"/>
          </p:nvPr>
        </p:nvSpPr>
        <p:spPr>
          <a:xfrm>
            <a:off x="4320372" y="2442971"/>
            <a:ext cx="3551257" cy="724747"/>
          </a:xfrm>
          <a:prstGeom prst="rect">
            <a:avLst/>
          </a:prstGeom>
        </p:spPr>
        <p:txBody>
          <a:bodyPr wrap="square" lIns="0" tIns="0" rIns="0" bIns="0">
            <a:spAutoFit/>
          </a:bodyPr>
          <a:lstStyle>
            <a:lvl1pPr>
              <a:defRPr sz="4533" b="1" i="0" u="heavy">
                <a:solidFill>
                  <a:srgbClr val="006FC0"/>
                </a:solidFill>
                <a:latin typeface="Arial"/>
                <a:cs typeface="Arial"/>
              </a:defRPr>
            </a:lvl1pPr>
          </a:lstStyle>
          <a:p>
            <a:endParaRPr/>
          </a:p>
        </p:txBody>
      </p:sp>
      <p:sp>
        <p:nvSpPr>
          <p:cNvPr id="3" name="Holder 3"/>
          <p:cNvSpPr>
            <a:spLocks noGrp="1"/>
          </p:cNvSpPr>
          <p:nvPr>
            <p:ph type="subTitle" idx="4"/>
          </p:nvPr>
        </p:nvSpPr>
        <p:spPr>
          <a:xfrm>
            <a:off x="1828800" y="3840481"/>
            <a:ext cx="8534400" cy="492443"/>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defRPr sz="800" b="0" i="0">
                <a:solidFill>
                  <a:srgbClr val="4D4E5C"/>
                </a:solidFill>
                <a:latin typeface="Arial"/>
                <a:cs typeface="Arial"/>
              </a:defRPr>
            </a:lvl1pPr>
          </a:lstStyle>
          <a:p>
            <a:pPr marL="16933">
              <a:spcBef>
                <a:spcPts val="53"/>
              </a:spcBef>
            </a:pPr>
            <a:r>
              <a:rPr lang="en-IN" smtClean="0"/>
              <a:t>© </a:t>
            </a:r>
            <a:r>
              <a:rPr lang="en-IN" spc="-7" smtClean="0"/>
              <a:t>2017</a:t>
            </a:r>
            <a:r>
              <a:rPr lang="en-IN" spc="127" smtClean="0"/>
              <a:t> </a:t>
            </a:r>
            <a:r>
              <a:rPr lang="en-IN" spc="7" smtClean="0"/>
              <a:t>Wipro</a:t>
            </a:r>
            <a:endParaRPr lang="en-IN" spc="7" dirty="0"/>
          </a:p>
        </p:txBody>
      </p:sp>
      <p:sp>
        <p:nvSpPr>
          <p:cNvPr id="5" name="Holder 5"/>
          <p:cNvSpPr>
            <a:spLocks noGrp="1"/>
          </p:cNvSpPr>
          <p:nvPr>
            <p:ph type="dt" sz="half" idx="6"/>
          </p:nvPr>
        </p:nvSpPr>
        <p:spPr/>
        <p:txBody>
          <a:bodyPr lIns="0" tIns="0" rIns="0" bIns="0"/>
          <a:lstStyle>
            <a:lvl1pPr>
              <a:defRPr sz="1067" b="0" i="0">
                <a:solidFill>
                  <a:schemeClr val="tx1"/>
                </a:solidFill>
                <a:latin typeface="Trebuchet MS"/>
                <a:cs typeface="Trebuchet MS"/>
              </a:defRPr>
            </a:lvl1pPr>
          </a:lstStyle>
          <a:p>
            <a:pPr marL="16933">
              <a:lnSpc>
                <a:spcPts val="1153"/>
              </a:lnSpc>
            </a:pPr>
            <a:r>
              <a:rPr lang="en-IN" spc="-60" smtClean="0"/>
              <a:t>Sensitivity: </a:t>
            </a:r>
            <a:r>
              <a:rPr lang="en-IN" spc="-53" smtClean="0"/>
              <a:t>Internal </a:t>
            </a:r>
            <a:r>
              <a:rPr lang="en-IN" spc="-27" smtClean="0"/>
              <a:t>&amp;</a:t>
            </a:r>
            <a:r>
              <a:rPr lang="en-IN" spc="-100" smtClean="0"/>
              <a:t> </a:t>
            </a:r>
            <a:r>
              <a:rPr lang="en-IN" spc="-60" smtClean="0"/>
              <a:t>Restricted</a:t>
            </a:r>
            <a:endParaRPr lang="en-IN" spc="-60" dirty="0"/>
          </a:p>
        </p:txBody>
      </p:sp>
      <p:sp>
        <p:nvSpPr>
          <p:cNvPr id="6" name="Holder 6"/>
          <p:cNvSpPr>
            <a:spLocks noGrp="1"/>
          </p:cNvSpPr>
          <p:nvPr>
            <p:ph type="sldNum" sz="quarter" idx="7"/>
          </p:nvPr>
        </p:nvSpPr>
        <p:spPr/>
        <p:txBody>
          <a:bodyPr lIns="0" tIns="0" rIns="0" bIns="0"/>
          <a:lstStyle>
            <a:lvl1pPr>
              <a:defRPr sz="800" b="0" i="0">
                <a:solidFill>
                  <a:srgbClr val="4D4E5C"/>
                </a:solidFill>
                <a:latin typeface="Arial"/>
                <a:cs typeface="Arial"/>
              </a:defRPr>
            </a:lvl1pPr>
          </a:lstStyle>
          <a:p>
            <a:pPr marL="33866">
              <a:spcBef>
                <a:spcPts val="53"/>
              </a:spcBef>
            </a:pPr>
            <a:fld id="{81D60167-4931-47E6-BA6A-407CBD079E47}" type="slidenum">
              <a:rPr lang="en-IN" spc="-7" smtClean="0"/>
              <a:pPr marL="33866">
                <a:spcBef>
                  <a:spcPts val="53"/>
                </a:spcBef>
              </a:pPr>
              <a:t>‹#›</a:t>
            </a:fld>
            <a:endParaRPr lang="en-IN" spc="-7" dirty="0"/>
          </a:p>
        </p:txBody>
      </p:sp>
    </p:spTree>
    <p:extLst>
      <p:ext uri="{BB962C8B-B14F-4D97-AF65-F5344CB8AC3E}">
        <p14:creationId xmlns:p14="http://schemas.microsoft.com/office/powerpoint/2010/main" val="2878864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Rectangle 5"/>
          <p:cNvSpPr/>
          <p:nvPr userDrawn="1"/>
        </p:nvSpPr>
        <p:spPr>
          <a:xfrm>
            <a:off x="0" y="6429376"/>
            <a:ext cx="12192000" cy="428625"/>
          </a:xfrm>
          <a:prstGeom prst="rect">
            <a:avLst/>
          </a:prstGeom>
          <a:gradFill flip="none" rotWithShape="1">
            <a:gsLst>
              <a:gs pos="0">
                <a:schemeClr val="bg1">
                  <a:lumMod val="85000"/>
                </a:schemeClr>
              </a:gs>
              <a:gs pos="100000">
                <a:schemeClr val="bg1">
                  <a:lumMod val="6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latin typeface="+mj-lt"/>
            </a:endParaRPr>
          </a:p>
        </p:txBody>
      </p:sp>
      <p:sp>
        <p:nvSpPr>
          <p:cNvPr id="5" name="TextBox 4"/>
          <p:cNvSpPr txBox="1">
            <a:spLocks noChangeArrowheads="1"/>
          </p:cNvSpPr>
          <p:nvPr userDrawn="1"/>
        </p:nvSpPr>
        <p:spPr bwMode="gray">
          <a:xfrm>
            <a:off x="11782177" y="6566744"/>
            <a:ext cx="15068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ea typeface="ＭＳ Ｐゴシック" pitchFamily="34" charset="-128"/>
              </a:defRPr>
            </a:lvl1pPr>
            <a:lvl2pPr marL="742950" indent="-285750">
              <a:defRPr>
                <a:solidFill>
                  <a:schemeClr val="tx1"/>
                </a:solidFill>
                <a:latin typeface="Calibri" pitchFamily="34" charset="0"/>
                <a:ea typeface="ＭＳ Ｐゴシック" pitchFamily="34" charset="-128"/>
              </a:defRPr>
            </a:lvl2pPr>
            <a:lvl3pPr marL="1143000" indent="-228600">
              <a:defRPr>
                <a:solidFill>
                  <a:schemeClr val="tx1"/>
                </a:solidFill>
                <a:latin typeface="Calibri" pitchFamily="34" charset="0"/>
                <a:ea typeface="ＭＳ Ｐゴシック" pitchFamily="34" charset="-128"/>
              </a:defRPr>
            </a:lvl3pPr>
            <a:lvl4pPr marL="1600200" indent="-228600">
              <a:defRPr>
                <a:solidFill>
                  <a:schemeClr val="tx1"/>
                </a:solidFill>
                <a:latin typeface="Calibri" pitchFamily="34" charset="0"/>
                <a:ea typeface="ＭＳ Ｐゴシック" pitchFamily="34" charset="-128"/>
              </a:defRPr>
            </a:lvl4pPr>
            <a:lvl5pPr marL="2057400" indent="-228600">
              <a:defRPr>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algn="ctr" eaLnBrk="1" hangingPunct="1">
              <a:defRPr/>
            </a:pPr>
            <a:fld id="{1A293784-CD66-4D8C-B283-7FF5ACBA415D}" type="slidenum">
              <a:rPr lang="en-US" sz="1000" smtClean="0">
                <a:solidFill>
                  <a:schemeClr val="bg2">
                    <a:lumMod val="25000"/>
                  </a:schemeClr>
                </a:solidFill>
                <a:latin typeface="+mj-lt"/>
                <a:cs typeface="Arial" panose="020B0604020202020204" pitchFamily="34" charset="0"/>
              </a:rPr>
              <a:pPr algn="ctr" eaLnBrk="1" hangingPunct="1">
                <a:defRPr/>
              </a:pPr>
              <a:t>‹#›</a:t>
            </a:fld>
            <a:endParaRPr lang="en-US" sz="1000" dirty="0" smtClean="0">
              <a:solidFill>
                <a:schemeClr val="bg2">
                  <a:lumMod val="25000"/>
                </a:schemeClr>
              </a:solidFill>
              <a:latin typeface="+mj-lt"/>
              <a:cs typeface="Arial" panose="020B0604020202020204" pitchFamily="34" charset="0"/>
            </a:endParaRPr>
          </a:p>
        </p:txBody>
      </p:sp>
      <p:sp>
        <p:nvSpPr>
          <p:cNvPr id="3" name="Content Placeholder 2"/>
          <p:cNvSpPr>
            <a:spLocks noGrp="1"/>
          </p:cNvSpPr>
          <p:nvPr>
            <p:ph idx="1"/>
          </p:nvPr>
        </p:nvSpPr>
        <p:spPr bwMode="gray">
          <a:xfrm>
            <a:off x="1001484" y="1370868"/>
            <a:ext cx="10926987" cy="1487587"/>
          </a:xfrm>
          <a:prstGeom prst="rect">
            <a:avLst/>
          </a:prstGeom>
        </p:spPr>
        <p:txBody>
          <a:bodyPr wrap="square" lIns="0" tIns="0" rIns="0" bIns="0">
            <a:spAutoFit/>
          </a:bodyPr>
          <a:lstStyle>
            <a:lvl1pPr marL="0" indent="0">
              <a:spcBef>
                <a:spcPts val="200"/>
              </a:spcBef>
              <a:buClr>
                <a:srgbClr val="2F82BF"/>
              </a:buClr>
              <a:buSzPct val="120000"/>
              <a:buFont typeface="Lucida Grande"/>
              <a:buNone/>
              <a:defRPr sz="1800">
                <a:latin typeface="+mj-lt"/>
                <a:cs typeface="Arial" panose="020B0604020202020204" pitchFamily="34" charset="0"/>
              </a:defRPr>
            </a:lvl1pPr>
            <a:lvl2pPr marL="363538" indent="-363538">
              <a:spcBef>
                <a:spcPts val="200"/>
              </a:spcBef>
              <a:buClr>
                <a:srgbClr val="2F82BF"/>
              </a:buClr>
              <a:buSzPct val="110000"/>
              <a:buFont typeface="Wingdings" panose="05000000000000000000" pitchFamily="2" charset="2"/>
              <a:buChar char="§"/>
              <a:defRPr sz="1800">
                <a:latin typeface="+mj-lt"/>
                <a:cs typeface="Arial" panose="020B0604020202020204" pitchFamily="34" charset="0"/>
              </a:defRPr>
            </a:lvl2pPr>
            <a:lvl3pPr marL="711200" indent="-347663">
              <a:spcBef>
                <a:spcPts val="200"/>
              </a:spcBef>
              <a:buClr>
                <a:srgbClr val="2F82BF"/>
              </a:buClr>
              <a:buFont typeface="Symbol" panose="05050102010706020507" pitchFamily="18" charset="2"/>
              <a:buChar char="-"/>
              <a:defRPr sz="1800">
                <a:latin typeface="+mj-lt"/>
                <a:cs typeface="Arial" panose="020B0604020202020204" pitchFamily="34" charset="0"/>
              </a:defRPr>
            </a:lvl3pPr>
            <a:lvl4pPr marL="1074738" indent="-363538">
              <a:spcBef>
                <a:spcPts val="200"/>
              </a:spcBef>
              <a:buClr>
                <a:srgbClr val="2F82BF"/>
              </a:buClr>
              <a:buSzPct val="90000"/>
              <a:buFont typeface="Arial" panose="020B0604020202020204" pitchFamily="34" charset="0"/>
              <a:buChar char="•"/>
              <a:defRPr sz="1800">
                <a:latin typeface="+mj-lt"/>
                <a:cs typeface="Arial" panose="020B0604020202020204" pitchFamily="34" charset="0"/>
              </a:defRPr>
            </a:lvl4pPr>
            <a:lvl5pPr marL="1436688" indent="-361950">
              <a:spcBef>
                <a:spcPts val="200"/>
              </a:spcBef>
              <a:buClr>
                <a:schemeClr val="tx2"/>
              </a:buClr>
              <a:buFont typeface="Symbol" panose="05050102010706020507" pitchFamily="18" charset="2"/>
              <a:buChar char="-"/>
              <a:defRPr sz="1800">
                <a:latin typeface="+mj-lt"/>
                <a:cs typeface="Arial" panose="020B0604020202020204" pitchFamily="34" charset="0"/>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itle Placeholder 1"/>
          <p:cNvSpPr>
            <a:spLocks noGrp="1"/>
          </p:cNvSpPr>
          <p:nvPr>
            <p:ph type="title" hasCustomPrompt="1"/>
          </p:nvPr>
        </p:nvSpPr>
        <p:spPr bwMode="gray">
          <a:xfrm>
            <a:off x="1001485" y="200320"/>
            <a:ext cx="10926987"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defRPr sz="3000">
                <a:solidFill>
                  <a:schemeClr val="tx2"/>
                </a:solidFill>
                <a:latin typeface="+mj-lt"/>
              </a:defRPr>
            </a:lvl1pPr>
          </a:lstStyle>
          <a:p>
            <a:pPr lvl="0"/>
            <a:r>
              <a:rPr lang="en-US" dirty="0" smtClean="0"/>
              <a:t>Click to edit title</a:t>
            </a:r>
            <a:endParaRPr lang="en-US" dirty="0"/>
          </a:p>
        </p:txBody>
      </p:sp>
      <p:sp>
        <p:nvSpPr>
          <p:cNvPr id="2" name="TextBox 1"/>
          <p:cNvSpPr txBox="1"/>
          <p:nvPr userDrawn="1"/>
        </p:nvSpPr>
        <p:spPr>
          <a:xfrm>
            <a:off x="10517706" y="6551355"/>
            <a:ext cx="1042465" cy="184666"/>
          </a:xfrm>
          <a:prstGeom prst="rect">
            <a:avLst/>
          </a:prstGeom>
          <a:noFill/>
        </p:spPr>
        <p:txBody>
          <a:bodyPr wrap="none" lIns="0" tIns="0" rIns="0" bIns="0" rtlCol="0" anchor="ctr" anchorCtr="0">
            <a:spAutoFit/>
          </a:bodyPr>
          <a:lstStyle/>
          <a:p>
            <a:pPr algn="r"/>
            <a:r>
              <a:rPr lang="en-IN" sz="1200" dirty="0" smtClean="0">
                <a:solidFill>
                  <a:schemeClr val="bg2">
                    <a:lumMod val="25000"/>
                  </a:schemeClr>
                </a:solidFill>
                <a:latin typeface="+mj-lt"/>
                <a:cs typeface="Arial" panose="020B0604020202020204" pitchFamily="34" charset="0"/>
              </a:rPr>
              <a:t>Maveric Systems</a:t>
            </a:r>
            <a:endParaRPr lang="en-IN" sz="1200" dirty="0">
              <a:solidFill>
                <a:schemeClr val="bg2">
                  <a:lumMod val="25000"/>
                </a:schemeClr>
              </a:solidFill>
              <a:latin typeface="+mj-lt"/>
              <a:cs typeface="Arial" panose="020B0604020202020204" pitchFamily="34" charset="0"/>
            </a:endParaRPr>
          </a:p>
        </p:txBody>
      </p:sp>
      <p:cxnSp>
        <p:nvCxnSpPr>
          <p:cNvPr id="8" name="Straight Connector 7"/>
          <p:cNvCxnSpPr/>
          <p:nvPr userDrawn="1"/>
        </p:nvCxnSpPr>
        <p:spPr>
          <a:xfrm>
            <a:off x="11669571" y="6547758"/>
            <a:ext cx="0" cy="191860"/>
          </a:xfrm>
          <a:prstGeom prst="line">
            <a:avLst/>
          </a:prstGeom>
          <a:ln w="9525">
            <a:solidFill>
              <a:schemeClr val="bg2">
                <a:lumMod val="25000"/>
              </a:schemeClr>
            </a:solidFill>
          </a:ln>
          <a:effectLst/>
        </p:spPr>
        <p:style>
          <a:lnRef idx="2">
            <a:schemeClr val="accent1"/>
          </a:lnRef>
          <a:fillRef idx="0">
            <a:schemeClr val="accent1"/>
          </a:fillRef>
          <a:effectRef idx="1">
            <a:schemeClr val="accent1"/>
          </a:effectRef>
          <a:fontRef idx="minor">
            <a:schemeClr val="tx1"/>
          </a:fontRef>
        </p:style>
      </p:cxnSp>
      <p:grpSp>
        <p:nvGrpSpPr>
          <p:cNvPr id="9" name="Group 8"/>
          <p:cNvGrpSpPr/>
          <p:nvPr userDrawn="1"/>
        </p:nvGrpSpPr>
        <p:grpSpPr>
          <a:xfrm>
            <a:off x="0" y="-4763"/>
            <a:ext cx="835819" cy="1147763"/>
            <a:chOff x="-19050" y="-4763"/>
            <a:chExt cx="835819" cy="1147763"/>
          </a:xfrm>
        </p:grpSpPr>
        <p:sp>
          <p:nvSpPr>
            <p:cNvPr id="10" name="Freeform 9"/>
            <p:cNvSpPr/>
            <p:nvPr/>
          </p:nvSpPr>
          <p:spPr>
            <a:xfrm>
              <a:off x="28575" y="-4763"/>
              <a:ext cx="788194" cy="350044"/>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50044">
                  <a:moveTo>
                    <a:pt x="245269" y="0"/>
                  </a:moveTo>
                  <a:lnTo>
                    <a:pt x="788194" y="342901"/>
                  </a:lnTo>
                  <a:lnTo>
                    <a:pt x="511969" y="350044"/>
                  </a:lnTo>
                  <a:lnTo>
                    <a:pt x="0" y="2382"/>
                  </a:lnTo>
                  <a:lnTo>
                    <a:pt x="245269" y="0"/>
                  </a:lnTo>
                  <a:close/>
                </a:path>
              </a:pathLst>
            </a:custGeom>
            <a:solidFill>
              <a:srgbClr val="B5CCEA"/>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latin typeface="+mj-lt"/>
              </a:endParaRPr>
            </a:p>
          </p:txBody>
        </p:sp>
        <p:sp>
          <p:nvSpPr>
            <p:cNvPr id="11" name="Freeform 10"/>
            <p:cNvSpPr/>
            <p:nvPr/>
          </p:nvSpPr>
          <p:spPr>
            <a:xfrm>
              <a:off x="-19050" y="419100"/>
              <a:ext cx="823913" cy="723900"/>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913" h="723900">
                  <a:moveTo>
                    <a:pt x="561975" y="2381"/>
                  </a:moveTo>
                  <a:lnTo>
                    <a:pt x="823913" y="0"/>
                  </a:lnTo>
                  <a:lnTo>
                    <a:pt x="0" y="723900"/>
                  </a:lnTo>
                  <a:lnTo>
                    <a:pt x="4762" y="526256"/>
                  </a:lnTo>
                  <a:lnTo>
                    <a:pt x="561975" y="2381"/>
                  </a:lnTo>
                  <a:close/>
                </a:path>
              </a:pathLst>
            </a:custGeom>
            <a:solidFill>
              <a:srgbClr val="234E8F"/>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latin typeface="+mj-lt"/>
              </a:endParaRPr>
            </a:p>
          </p:txBody>
        </p:sp>
      </p:grpSp>
    </p:spTree>
    <p:extLst>
      <p:ext uri="{BB962C8B-B14F-4D97-AF65-F5344CB8AC3E}">
        <p14:creationId xmlns:p14="http://schemas.microsoft.com/office/powerpoint/2010/main" val="1074053636"/>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Divider Slide">
    <p:spTree>
      <p:nvGrpSpPr>
        <p:cNvPr id="1" name=""/>
        <p:cNvGrpSpPr/>
        <p:nvPr/>
      </p:nvGrpSpPr>
      <p:grpSpPr>
        <a:xfrm>
          <a:off x="0" y="0"/>
          <a:ext cx="0" cy="0"/>
          <a:chOff x="0" y="0"/>
          <a:chExt cx="0" cy="0"/>
        </a:xfrm>
      </p:grpSpPr>
      <p:sp>
        <p:nvSpPr>
          <p:cNvPr id="5" name="TextBox 4"/>
          <p:cNvSpPr txBox="1">
            <a:spLocks noChangeArrowheads="1"/>
          </p:cNvSpPr>
          <p:nvPr userDrawn="1"/>
        </p:nvSpPr>
        <p:spPr bwMode="gray">
          <a:xfrm>
            <a:off x="11778971" y="6566744"/>
            <a:ext cx="15709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ea typeface="ＭＳ Ｐゴシック" pitchFamily="34" charset="-128"/>
              </a:defRPr>
            </a:lvl1pPr>
            <a:lvl2pPr marL="742950" indent="-285750">
              <a:defRPr>
                <a:solidFill>
                  <a:schemeClr val="tx1"/>
                </a:solidFill>
                <a:latin typeface="Calibri" pitchFamily="34" charset="0"/>
                <a:ea typeface="ＭＳ Ｐゴシック" pitchFamily="34" charset="-128"/>
              </a:defRPr>
            </a:lvl2pPr>
            <a:lvl3pPr marL="1143000" indent="-228600">
              <a:defRPr>
                <a:solidFill>
                  <a:schemeClr val="tx1"/>
                </a:solidFill>
                <a:latin typeface="Calibri" pitchFamily="34" charset="0"/>
                <a:ea typeface="ＭＳ Ｐゴシック" pitchFamily="34" charset="-128"/>
              </a:defRPr>
            </a:lvl3pPr>
            <a:lvl4pPr marL="1600200" indent="-228600">
              <a:defRPr>
                <a:solidFill>
                  <a:schemeClr val="tx1"/>
                </a:solidFill>
                <a:latin typeface="Calibri" pitchFamily="34" charset="0"/>
                <a:ea typeface="ＭＳ Ｐゴシック" pitchFamily="34" charset="-128"/>
              </a:defRPr>
            </a:lvl4pPr>
            <a:lvl5pPr marL="2057400" indent="-228600">
              <a:defRPr>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algn="ctr" eaLnBrk="1" hangingPunct="1">
              <a:defRPr/>
            </a:pPr>
            <a:fld id="{1A293784-CD66-4D8C-B283-7FF5ACBA415D}" type="slidenum">
              <a:rPr lang="en-US" sz="1000" smtClean="0">
                <a:solidFill>
                  <a:schemeClr val="bg2">
                    <a:lumMod val="25000"/>
                  </a:schemeClr>
                </a:solidFill>
                <a:latin typeface="Arial" panose="020B0604020202020204" pitchFamily="34" charset="0"/>
                <a:cs typeface="Arial" panose="020B0604020202020204" pitchFamily="34" charset="0"/>
              </a:rPr>
              <a:pPr algn="ctr" eaLnBrk="1" hangingPunct="1">
                <a:defRPr/>
              </a:pPr>
              <a:t>‹#›</a:t>
            </a:fld>
            <a:endParaRPr lang="en-US" sz="1000" dirty="0" smtClean="0">
              <a:solidFill>
                <a:schemeClr val="bg2">
                  <a:lumMod val="25000"/>
                </a:schemeClr>
              </a:solidFill>
              <a:latin typeface="Arial" panose="020B0604020202020204" pitchFamily="34" charset="0"/>
              <a:cs typeface="Arial" panose="020B0604020202020204" pitchFamily="34" charset="0"/>
            </a:endParaRPr>
          </a:p>
        </p:txBody>
      </p:sp>
      <p:sp>
        <p:nvSpPr>
          <p:cNvPr id="4" name="Title Placeholder 1"/>
          <p:cNvSpPr>
            <a:spLocks noGrp="1"/>
          </p:cNvSpPr>
          <p:nvPr>
            <p:ph type="title" hasCustomPrompt="1"/>
          </p:nvPr>
        </p:nvSpPr>
        <p:spPr bwMode="gray">
          <a:xfrm>
            <a:off x="3922710" y="1978434"/>
            <a:ext cx="8005762"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lgn="r">
              <a:defRPr sz="2800">
                <a:solidFill>
                  <a:schemeClr val="tx2"/>
                </a:solidFill>
              </a:defRPr>
            </a:lvl1pPr>
          </a:lstStyle>
          <a:p>
            <a:pPr lvl="0"/>
            <a:r>
              <a:rPr lang="en-US" dirty="0" smtClean="0"/>
              <a:t>Click to edit title</a:t>
            </a:r>
            <a:endParaRPr lang="en-US" dirty="0"/>
          </a:p>
        </p:txBody>
      </p:sp>
      <p:sp>
        <p:nvSpPr>
          <p:cNvPr id="2" name="TextBox 1"/>
          <p:cNvSpPr txBox="1"/>
          <p:nvPr userDrawn="1"/>
        </p:nvSpPr>
        <p:spPr>
          <a:xfrm>
            <a:off x="10389979" y="6551355"/>
            <a:ext cx="1170192" cy="184666"/>
          </a:xfrm>
          <a:prstGeom prst="rect">
            <a:avLst/>
          </a:prstGeom>
          <a:noFill/>
        </p:spPr>
        <p:txBody>
          <a:bodyPr wrap="none" lIns="0" tIns="0" rIns="0" bIns="0" rtlCol="0" anchor="ctr" anchorCtr="0">
            <a:spAutoFit/>
          </a:bodyPr>
          <a:lstStyle/>
          <a:p>
            <a:pPr algn="r"/>
            <a:r>
              <a:rPr lang="en-IN" sz="1200" dirty="0" smtClean="0">
                <a:solidFill>
                  <a:schemeClr val="bg2">
                    <a:lumMod val="25000"/>
                  </a:schemeClr>
                </a:solidFill>
                <a:latin typeface="Arial" panose="020B0604020202020204" pitchFamily="34" charset="0"/>
                <a:cs typeface="Arial" panose="020B0604020202020204" pitchFamily="34" charset="0"/>
              </a:rPr>
              <a:t>Maveric Systems</a:t>
            </a:r>
            <a:endParaRPr lang="en-IN" sz="1200" dirty="0">
              <a:solidFill>
                <a:schemeClr val="bg2">
                  <a:lumMod val="25000"/>
                </a:schemeClr>
              </a:solidFill>
              <a:latin typeface="Arial" panose="020B0604020202020204" pitchFamily="34" charset="0"/>
              <a:cs typeface="Arial" panose="020B0604020202020204" pitchFamily="34" charset="0"/>
            </a:endParaRPr>
          </a:p>
        </p:txBody>
      </p:sp>
      <p:cxnSp>
        <p:nvCxnSpPr>
          <p:cNvPr id="8" name="Straight Connector 7"/>
          <p:cNvCxnSpPr/>
          <p:nvPr userDrawn="1"/>
        </p:nvCxnSpPr>
        <p:spPr>
          <a:xfrm>
            <a:off x="11633104" y="6547758"/>
            <a:ext cx="0" cy="191860"/>
          </a:xfrm>
          <a:prstGeom prst="line">
            <a:avLst/>
          </a:prstGeom>
          <a:ln w="9525">
            <a:solidFill>
              <a:schemeClr val="bg2">
                <a:lumMod val="25000"/>
              </a:schemeClr>
            </a:solidFill>
          </a:ln>
          <a:effectLst/>
        </p:spPr>
        <p:style>
          <a:lnRef idx="2">
            <a:schemeClr val="accent1"/>
          </a:lnRef>
          <a:fillRef idx="0">
            <a:schemeClr val="accent1"/>
          </a:fillRef>
          <a:effectRef idx="1">
            <a:schemeClr val="accent1"/>
          </a:effectRef>
          <a:fontRef idx="minor">
            <a:schemeClr val="tx1"/>
          </a:fontRef>
        </p:style>
      </p:cxnSp>
      <p:grpSp>
        <p:nvGrpSpPr>
          <p:cNvPr id="12" name="Group 11"/>
          <p:cNvGrpSpPr/>
          <p:nvPr userDrawn="1"/>
        </p:nvGrpSpPr>
        <p:grpSpPr>
          <a:xfrm>
            <a:off x="-12380" y="-28576"/>
            <a:ext cx="3935090" cy="5677596"/>
            <a:chOff x="2160910" y="711647"/>
            <a:chExt cx="3935090" cy="5677596"/>
          </a:xfrm>
        </p:grpSpPr>
        <p:sp>
          <p:nvSpPr>
            <p:cNvPr id="13" name="Freeform 12"/>
            <p:cNvSpPr/>
            <p:nvPr/>
          </p:nvSpPr>
          <p:spPr>
            <a:xfrm>
              <a:off x="2363868" y="711647"/>
              <a:ext cx="3732132" cy="1634612"/>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 name="connsiteX0" fmla="*/ 245269 w 788194"/>
                <a:gd name="connsiteY0" fmla="*/ 0 h 345216"/>
                <a:gd name="connsiteX1" fmla="*/ 788194 w 788194"/>
                <a:gd name="connsiteY1" fmla="*/ 342901 h 345216"/>
                <a:gd name="connsiteX2" fmla="*/ 537717 w 788194"/>
                <a:gd name="connsiteY2" fmla="*/ 345216 h 345216"/>
                <a:gd name="connsiteX3" fmla="*/ 0 w 788194"/>
                <a:gd name="connsiteY3" fmla="*/ 2382 h 345216"/>
                <a:gd name="connsiteX4" fmla="*/ 245269 w 788194"/>
                <a:gd name="connsiteY4" fmla="*/ 0 h 345216"/>
                <a:gd name="connsiteX0" fmla="*/ 242050 w 788194"/>
                <a:gd name="connsiteY0" fmla="*/ 0 h 345216"/>
                <a:gd name="connsiteX1" fmla="*/ 788194 w 788194"/>
                <a:gd name="connsiteY1" fmla="*/ 342901 h 345216"/>
                <a:gd name="connsiteX2" fmla="*/ 537717 w 788194"/>
                <a:gd name="connsiteY2" fmla="*/ 345216 h 345216"/>
                <a:gd name="connsiteX3" fmla="*/ 0 w 788194"/>
                <a:gd name="connsiteY3" fmla="*/ 2382 h 345216"/>
                <a:gd name="connsiteX4" fmla="*/ 242050 w 788194"/>
                <a:gd name="connsiteY4" fmla="*/ 0 h 345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45216">
                  <a:moveTo>
                    <a:pt x="242050" y="0"/>
                  </a:moveTo>
                  <a:lnTo>
                    <a:pt x="788194" y="342901"/>
                  </a:lnTo>
                  <a:lnTo>
                    <a:pt x="537717" y="345216"/>
                  </a:lnTo>
                  <a:lnTo>
                    <a:pt x="0" y="2382"/>
                  </a:lnTo>
                  <a:lnTo>
                    <a:pt x="242050" y="0"/>
                  </a:lnTo>
                  <a:close/>
                </a:path>
              </a:pathLst>
            </a:custGeom>
            <a:solidFill>
              <a:srgbClr val="B5CCEA"/>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p>
          </p:txBody>
        </p:sp>
        <p:sp>
          <p:nvSpPr>
            <p:cNvPr id="14" name="Freeform 13"/>
            <p:cNvSpPr/>
            <p:nvPr/>
          </p:nvSpPr>
          <p:spPr>
            <a:xfrm>
              <a:off x="2160910" y="2718657"/>
              <a:ext cx="3878715" cy="3670586"/>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 name="connsiteX0" fmla="*/ 557213 w 819151"/>
                <a:gd name="connsiteY0" fmla="*/ 2381 h 775196"/>
                <a:gd name="connsiteX1" fmla="*/ 819151 w 819151"/>
                <a:gd name="connsiteY1" fmla="*/ 0 h 775196"/>
                <a:gd name="connsiteX2" fmla="*/ 4290 w 819151"/>
                <a:gd name="connsiteY2" fmla="*/ 775196 h 775196"/>
                <a:gd name="connsiteX3" fmla="*/ 0 w 819151"/>
                <a:gd name="connsiteY3" fmla="*/ 526256 h 775196"/>
                <a:gd name="connsiteX4" fmla="*/ 557213 w 819151"/>
                <a:gd name="connsiteY4" fmla="*/ 2381 h 775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151" h="775196">
                  <a:moveTo>
                    <a:pt x="557213" y="2381"/>
                  </a:moveTo>
                  <a:lnTo>
                    <a:pt x="819151" y="0"/>
                  </a:lnTo>
                  <a:lnTo>
                    <a:pt x="4290" y="775196"/>
                  </a:lnTo>
                  <a:lnTo>
                    <a:pt x="0" y="526256"/>
                  </a:lnTo>
                  <a:lnTo>
                    <a:pt x="557213" y="2381"/>
                  </a:lnTo>
                  <a:close/>
                </a:path>
              </a:pathLst>
            </a:custGeom>
            <a:solidFill>
              <a:srgbClr val="234E8F"/>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p>
          </p:txBody>
        </p:sp>
      </p:grpSp>
    </p:spTree>
    <p:extLst>
      <p:ext uri="{BB962C8B-B14F-4D97-AF65-F5344CB8AC3E}">
        <p14:creationId xmlns:p14="http://schemas.microsoft.com/office/powerpoint/2010/main" val="156019892"/>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6" name="Rectangle 5"/>
          <p:cNvSpPr/>
          <p:nvPr userDrawn="1"/>
        </p:nvSpPr>
        <p:spPr>
          <a:xfrm>
            <a:off x="0" y="6429376"/>
            <a:ext cx="12192000" cy="428625"/>
          </a:xfrm>
          <a:prstGeom prst="rect">
            <a:avLst/>
          </a:prstGeom>
          <a:gradFill flip="none" rotWithShape="1">
            <a:gsLst>
              <a:gs pos="0">
                <a:schemeClr val="bg1">
                  <a:lumMod val="85000"/>
                </a:schemeClr>
              </a:gs>
              <a:gs pos="100000">
                <a:schemeClr val="bg1">
                  <a:lumMod val="6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prstClr val="white"/>
              </a:solidFill>
            </a:endParaRPr>
          </a:p>
        </p:txBody>
      </p:sp>
      <p:sp>
        <p:nvSpPr>
          <p:cNvPr id="5" name="TextBox 4"/>
          <p:cNvSpPr txBox="1">
            <a:spLocks noChangeArrowheads="1"/>
          </p:cNvSpPr>
          <p:nvPr userDrawn="1"/>
        </p:nvSpPr>
        <p:spPr bwMode="gray">
          <a:xfrm>
            <a:off x="11778971" y="6566744"/>
            <a:ext cx="15709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ea typeface="ＭＳ Ｐゴシック" pitchFamily="34" charset="-128"/>
              </a:defRPr>
            </a:lvl1pPr>
            <a:lvl2pPr marL="742950" indent="-285750">
              <a:defRPr>
                <a:solidFill>
                  <a:schemeClr val="tx1"/>
                </a:solidFill>
                <a:latin typeface="Calibri" pitchFamily="34" charset="0"/>
                <a:ea typeface="ＭＳ Ｐゴシック" pitchFamily="34" charset="-128"/>
              </a:defRPr>
            </a:lvl2pPr>
            <a:lvl3pPr marL="1143000" indent="-228600">
              <a:defRPr>
                <a:solidFill>
                  <a:schemeClr val="tx1"/>
                </a:solidFill>
                <a:latin typeface="Calibri" pitchFamily="34" charset="0"/>
                <a:ea typeface="ＭＳ Ｐゴシック" pitchFamily="34" charset="-128"/>
              </a:defRPr>
            </a:lvl3pPr>
            <a:lvl4pPr marL="1600200" indent="-228600">
              <a:defRPr>
                <a:solidFill>
                  <a:schemeClr val="tx1"/>
                </a:solidFill>
                <a:latin typeface="Calibri" pitchFamily="34" charset="0"/>
                <a:ea typeface="ＭＳ Ｐゴシック" pitchFamily="34" charset="-128"/>
              </a:defRPr>
            </a:lvl4pPr>
            <a:lvl5pPr marL="2057400" indent="-228600">
              <a:defRPr>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algn="ctr" eaLnBrk="1" hangingPunct="1">
              <a:defRPr/>
            </a:pPr>
            <a:fld id="{1A293784-CD66-4D8C-B283-7FF5ACBA415D}" type="slidenum">
              <a:rPr lang="en-US" sz="1000" smtClean="0">
                <a:solidFill>
                  <a:srgbClr val="EEECE1">
                    <a:lumMod val="25000"/>
                  </a:srgbClr>
                </a:solidFill>
                <a:latin typeface="Arial" panose="020B0604020202020204" pitchFamily="34" charset="0"/>
                <a:cs typeface="Arial" panose="020B0604020202020204" pitchFamily="34" charset="0"/>
              </a:rPr>
              <a:pPr algn="ctr" eaLnBrk="1" hangingPunct="1">
                <a:defRPr/>
              </a:pPr>
              <a:t>‹#›</a:t>
            </a:fld>
            <a:endParaRPr lang="en-US" sz="1000" dirty="0" smtClean="0">
              <a:solidFill>
                <a:srgbClr val="EEECE1">
                  <a:lumMod val="25000"/>
                </a:srgbClr>
              </a:solidFill>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bwMode="gray">
          <a:xfrm>
            <a:off x="1001484" y="1370868"/>
            <a:ext cx="10926987" cy="1487587"/>
          </a:xfrm>
          <a:prstGeom prst="rect">
            <a:avLst/>
          </a:prstGeom>
        </p:spPr>
        <p:txBody>
          <a:bodyPr wrap="square" lIns="0" tIns="0" rIns="0" bIns="0">
            <a:spAutoFit/>
          </a:bodyPr>
          <a:lstStyle>
            <a:lvl1pPr marL="0" indent="0">
              <a:spcBef>
                <a:spcPts val="200"/>
              </a:spcBef>
              <a:buClr>
                <a:srgbClr val="2F82BF"/>
              </a:buClr>
              <a:buSzPct val="120000"/>
              <a:buFont typeface="Lucida Grande"/>
              <a:buNone/>
              <a:defRPr sz="1800">
                <a:latin typeface="Arial" panose="020B0604020202020204" pitchFamily="34" charset="0"/>
                <a:cs typeface="Arial" panose="020B0604020202020204" pitchFamily="34" charset="0"/>
              </a:defRPr>
            </a:lvl1pPr>
            <a:lvl2pPr marL="363538" indent="-363538">
              <a:spcBef>
                <a:spcPts val="200"/>
              </a:spcBef>
              <a:buClr>
                <a:srgbClr val="2F82BF"/>
              </a:buClr>
              <a:buSzPct val="110000"/>
              <a:buFont typeface="Wingdings" panose="05000000000000000000" pitchFamily="2" charset="2"/>
              <a:buChar char="§"/>
              <a:defRPr sz="1800">
                <a:latin typeface="Arial" panose="020B0604020202020204" pitchFamily="34" charset="0"/>
                <a:cs typeface="Arial" panose="020B0604020202020204" pitchFamily="34" charset="0"/>
              </a:defRPr>
            </a:lvl2pPr>
            <a:lvl3pPr marL="711200" indent="-347663">
              <a:spcBef>
                <a:spcPts val="200"/>
              </a:spcBef>
              <a:buClr>
                <a:srgbClr val="2F82BF"/>
              </a:buClr>
              <a:buFont typeface="Symbol" panose="05050102010706020507" pitchFamily="18" charset="2"/>
              <a:buChar char="-"/>
              <a:defRPr sz="1800">
                <a:latin typeface="Arial" panose="020B0604020202020204" pitchFamily="34" charset="0"/>
                <a:cs typeface="Arial" panose="020B0604020202020204" pitchFamily="34" charset="0"/>
              </a:defRPr>
            </a:lvl3pPr>
            <a:lvl4pPr marL="1074738" indent="-363538">
              <a:spcBef>
                <a:spcPts val="200"/>
              </a:spcBef>
              <a:buClr>
                <a:srgbClr val="2F82BF"/>
              </a:buClr>
              <a:buSzPct val="90000"/>
              <a:buFont typeface="Arial" panose="020B0604020202020204" pitchFamily="34" charset="0"/>
              <a:buChar char="•"/>
              <a:defRPr sz="1800">
                <a:latin typeface="Arial" panose="020B0604020202020204" pitchFamily="34" charset="0"/>
                <a:cs typeface="Arial" panose="020B0604020202020204" pitchFamily="34" charset="0"/>
              </a:defRPr>
            </a:lvl4pPr>
            <a:lvl5pPr marL="1436688" indent="-361950">
              <a:spcBef>
                <a:spcPts val="200"/>
              </a:spcBef>
              <a:buClr>
                <a:schemeClr val="tx2"/>
              </a:buClr>
              <a:buFont typeface="Symbol" panose="05050102010706020507" pitchFamily="18" charset="2"/>
              <a:buChar char="-"/>
              <a:defRPr sz="1800">
                <a:latin typeface="Arial" panose="020B0604020202020204" pitchFamily="34" charset="0"/>
                <a:cs typeface="Arial" panose="020B0604020202020204" pitchFamily="34" charset="0"/>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itle Placeholder 1"/>
          <p:cNvSpPr>
            <a:spLocks noGrp="1"/>
          </p:cNvSpPr>
          <p:nvPr>
            <p:ph type="title" hasCustomPrompt="1"/>
          </p:nvPr>
        </p:nvSpPr>
        <p:spPr bwMode="gray">
          <a:xfrm>
            <a:off x="1001485" y="200320"/>
            <a:ext cx="10926987"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defRPr sz="2800">
                <a:solidFill>
                  <a:schemeClr val="tx2"/>
                </a:solidFill>
              </a:defRPr>
            </a:lvl1pPr>
          </a:lstStyle>
          <a:p>
            <a:pPr lvl="0"/>
            <a:r>
              <a:rPr lang="en-US" dirty="0" smtClean="0"/>
              <a:t>Click to edit title</a:t>
            </a:r>
            <a:endParaRPr lang="en-US" dirty="0"/>
          </a:p>
        </p:txBody>
      </p:sp>
      <p:sp>
        <p:nvSpPr>
          <p:cNvPr id="2" name="TextBox 1"/>
          <p:cNvSpPr txBox="1"/>
          <p:nvPr userDrawn="1"/>
        </p:nvSpPr>
        <p:spPr>
          <a:xfrm>
            <a:off x="10389979" y="6551355"/>
            <a:ext cx="1170192" cy="184666"/>
          </a:xfrm>
          <a:prstGeom prst="rect">
            <a:avLst/>
          </a:prstGeom>
          <a:noFill/>
        </p:spPr>
        <p:txBody>
          <a:bodyPr wrap="none" lIns="0" tIns="0" rIns="0" bIns="0" rtlCol="0" anchor="ctr" anchorCtr="0">
            <a:spAutoFit/>
          </a:bodyPr>
          <a:lstStyle/>
          <a:p>
            <a:pPr algn="r"/>
            <a:r>
              <a:rPr lang="en-IN" sz="1200" dirty="0" smtClean="0">
                <a:solidFill>
                  <a:srgbClr val="EEECE1">
                    <a:lumMod val="25000"/>
                  </a:srgbClr>
                </a:solidFill>
                <a:latin typeface="Arial" panose="020B0604020202020204" pitchFamily="34" charset="0"/>
                <a:cs typeface="Arial" panose="020B0604020202020204" pitchFamily="34" charset="0"/>
              </a:rPr>
              <a:t>Maveric Systems</a:t>
            </a:r>
            <a:endParaRPr lang="en-IN" sz="1200" dirty="0">
              <a:solidFill>
                <a:srgbClr val="EEECE1">
                  <a:lumMod val="25000"/>
                </a:srgbClr>
              </a:solidFill>
              <a:latin typeface="Arial" panose="020B0604020202020204" pitchFamily="34" charset="0"/>
              <a:cs typeface="Arial" panose="020B0604020202020204" pitchFamily="34" charset="0"/>
            </a:endParaRPr>
          </a:p>
        </p:txBody>
      </p:sp>
      <p:cxnSp>
        <p:nvCxnSpPr>
          <p:cNvPr id="8" name="Straight Connector 7"/>
          <p:cNvCxnSpPr/>
          <p:nvPr userDrawn="1"/>
        </p:nvCxnSpPr>
        <p:spPr>
          <a:xfrm>
            <a:off x="11633104" y="6547758"/>
            <a:ext cx="0" cy="191860"/>
          </a:xfrm>
          <a:prstGeom prst="line">
            <a:avLst/>
          </a:prstGeom>
          <a:ln w="9525">
            <a:solidFill>
              <a:schemeClr val="bg2">
                <a:lumMod val="25000"/>
              </a:schemeClr>
            </a:solidFill>
          </a:ln>
          <a:effectLst/>
        </p:spPr>
        <p:style>
          <a:lnRef idx="2">
            <a:schemeClr val="accent1"/>
          </a:lnRef>
          <a:fillRef idx="0">
            <a:schemeClr val="accent1"/>
          </a:fillRef>
          <a:effectRef idx="1">
            <a:schemeClr val="accent1"/>
          </a:effectRef>
          <a:fontRef idx="minor">
            <a:schemeClr val="tx1"/>
          </a:fontRef>
        </p:style>
      </p:cxnSp>
      <p:grpSp>
        <p:nvGrpSpPr>
          <p:cNvPr id="9" name="Group 8"/>
          <p:cNvGrpSpPr/>
          <p:nvPr userDrawn="1"/>
        </p:nvGrpSpPr>
        <p:grpSpPr>
          <a:xfrm>
            <a:off x="0" y="-4763"/>
            <a:ext cx="835819" cy="1147763"/>
            <a:chOff x="-19050" y="-4763"/>
            <a:chExt cx="835819" cy="1147763"/>
          </a:xfrm>
        </p:grpSpPr>
        <p:sp>
          <p:nvSpPr>
            <p:cNvPr id="10" name="Freeform 9"/>
            <p:cNvSpPr/>
            <p:nvPr/>
          </p:nvSpPr>
          <p:spPr>
            <a:xfrm>
              <a:off x="28575" y="-4763"/>
              <a:ext cx="788194" cy="350044"/>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50044">
                  <a:moveTo>
                    <a:pt x="245269" y="0"/>
                  </a:moveTo>
                  <a:lnTo>
                    <a:pt x="788194" y="342901"/>
                  </a:lnTo>
                  <a:lnTo>
                    <a:pt x="511969" y="350044"/>
                  </a:lnTo>
                  <a:lnTo>
                    <a:pt x="0" y="2382"/>
                  </a:lnTo>
                  <a:lnTo>
                    <a:pt x="245269" y="0"/>
                  </a:lnTo>
                  <a:close/>
                </a:path>
              </a:pathLst>
            </a:custGeom>
            <a:solidFill>
              <a:srgbClr val="B5CCEA"/>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a:solidFill>
                  <a:prstClr val="white"/>
                </a:solidFill>
              </a:endParaRPr>
            </a:p>
          </p:txBody>
        </p:sp>
        <p:sp>
          <p:nvSpPr>
            <p:cNvPr id="11" name="Freeform 10"/>
            <p:cNvSpPr/>
            <p:nvPr/>
          </p:nvSpPr>
          <p:spPr>
            <a:xfrm>
              <a:off x="-19050" y="419100"/>
              <a:ext cx="823913" cy="723900"/>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913" h="723900">
                  <a:moveTo>
                    <a:pt x="561975" y="2381"/>
                  </a:moveTo>
                  <a:lnTo>
                    <a:pt x="823913" y="0"/>
                  </a:lnTo>
                  <a:lnTo>
                    <a:pt x="0" y="723900"/>
                  </a:lnTo>
                  <a:lnTo>
                    <a:pt x="4762" y="526256"/>
                  </a:lnTo>
                  <a:lnTo>
                    <a:pt x="561975" y="2381"/>
                  </a:lnTo>
                  <a:close/>
                </a:path>
              </a:pathLst>
            </a:custGeom>
            <a:solidFill>
              <a:srgbClr val="234E8F"/>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a:solidFill>
                  <a:prstClr val="white"/>
                </a:solidFill>
              </a:endParaRPr>
            </a:p>
          </p:txBody>
        </p:sp>
      </p:grpSp>
    </p:spTree>
    <p:extLst>
      <p:ext uri="{BB962C8B-B14F-4D97-AF65-F5344CB8AC3E}">
        <p14:creationId xmlns:p14="http://schemas.microsoft.com/office/powerpoint/2010/main" val="1567400796"/>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_Back Cover">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1" y="3737050"/>
            <a:ext cx="12192001" cy="3125287"/>
          </a:xfrm>
          <a:prstGeom prst="rect">
            <a:avLst/>
          </a:prstGeom>
        </p:spPr>
      </p:pic>
      <p:grpSp>
        <p:nvGrpSpPr>
          <p:cNvPr id="47" name="Group 46"/>
          <p:cNvGrpSpPr/>
          <p:nvPr userDrawn="1"/>
        </p:nvGrpSpPr>
        <p:grpSpPr bwMode="gray">
          <a:xfrm>
            <a:off x="3187896" y="299551"/>
            <a:ext cx="5816209" cy="4374658"/>
            <a:chOff x="3187895" y="299551"/>
            <a:chExt cx="5816209" cy="4374658"/>
          </a:xfrm>
        </p:grpSpPr>
        <p:grpSp>
          <p:nvGrpSpPr>
            <p:cNvPr id="48" name="Group 47"/>
            <p:cNvGrpSpPr>
              <a:grpSpLocks noChangeAspect="1"/>
            </p:cNvGrpSpPr>
            <p:nvPr/>
          </p:nvGrpSpPr>
          <p:grpSpPr bwMode="gray">
            <a:xfrm>
              <a:off x="4971813" y="299551"/>
              <a:ext cx="2248375" cy="830271"/>
              <a:chOff x="6391275" y="515938"/>
              <a:chExt cx="3813176" cy="1408113"/>
            </a:xfrm>
          </p:grpSpPr>
          <p:sp>
            <p:nvSpPr>
              <p:cNvPr id="51" name="Freeform 50"/>
              <p:cNvSpPr>
                <a:spLocks/>
              </p:cNvSpPr>
              <p:nvPr/>
            </p:nvSpPr>
            <p:spPr bwMode="gray">
              <a:xfrm>
                <a:off x="6789738" y="1677988"/>
                <a:ext cx="138113" cy="185738"/>
              </a:xfrm>
              <a:custGeom>
                <a:avLst/>
                <a:gdLst>
                  <a:gd name="T0" fmla="*/ 202 w 497"/>
                  <a:gd name="T1" fmla="*/ 85 h 673"/>
                  <a:gd name="T2" fmla="*/ 202 w 497"/>
                  <a:gd name="T3" fmla="*/ 85 h 673"/>
                  <a:gd name="T4" fmla="*/ 0 w 497"/>
                  <a:gd name="T5" fmla="*/ 85 h 673"/>
                  <a:gd name="T6" fmla="*/ 0 w 497"/>
                  <a:gd name="T7" fmla="*/ 0 h 673"/>
                  <a:gd name="T8" fmla="*/ 497 w 497"/>
                  <a:gd name="T9" fmla="*/ 0 h 673"/>
                  <a:gd name="T10" fmla="*/ 497 w 497"/>
                  <a:gd name="T11" fmla="*/ 85 h 673"/>
                  <a:gd name="T12" fmla="*/ 295 w 497"/>
                  <a:gd name="T13" fmla="*/ 85 h 673"/>
                  <a:gd name="T14" fmla="*/ 295 w 497"/>
                  <a:gd name="T15" fmla="*/ 673 h 673"/>
                  <a:gd name="T16" fmla="*/ 202 w 497"/>
                  <a:gd name="T17" fmla="*/ 673 h 673"/>
                  <a:gd name="T18" fmla="*/ 202 w 497"/>
                  <a:gd name="T19" fmla="*/ 85 h 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7" h="673">
                    <a:moveTo>
                      <a:pt x="202" y="85"/>
                    </a:moveTo>
                    <a:lnTo>
                      <a:pt x="202" y="85"/>
                    </a:lnTo>
                    <a:lnTo>
                      <a:pt x="0" y="85"/>
                    </a:lnTo>
                    <a:lnTo>
                      <a:pt x="0" y="0"/>
                    </a:lnTo>
                    <a:lnTo>
                      <a:pt x="497" y="0"/>
                    </a:lnTo>
                    <a:lnTo>
                      <a:pt x="497" y="85"/>
                    </a:lnTo>
                    <a:lnTo>
                      <a:pt x="295" y="85"/>
                    </a:lnTo>
                    <a:lnTo>
                      <a:pt x="295" y="673"/>
                    </a:lnTo>
                    <a:lnTo>
                      <a:pt x="202" y="673"/>
                    </a:lnTo>
                    <a:lnTo>
                      <a:pt x="202" y="85"/>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2" name="Freeform 51"/>
              <p:cNvSpPr>
                <a:spLocks/>
              </p:cNvSpPr>
              <p:nvPr/>
            </p:nvSpPr>
            <p:spPr bwMode="gray">
              <a:xfrm>
                <a:off x="6938963" y="1725613"/>
                <a:ext cx="73025" cy="138113"/>
              </a:xfrm>
              <a:custGeom>
                <a:avLst/>
                <a:gdLst>
                  <a:gd name="T0" fmla="*/ 0 w 265"/>
                  <a:gd name="T1" fmla="*/ 11 h 503"/>
                  <a:gd name="T2" fmla="*/ 0 w 265"/>
                  <a:gd name="T3" fmla="*/ 11 h 503"/>
                  <a:gd name="T4" fmla="*/ 82 w 265"/>
                  <a:gd name="T5" fmla="*/ 11 h 503"/>
                  <a:gd name="T6" fmla="*/ 82 w 265"/>
                  <a:gd name="T7" fmla="*/ 87 h 503"/>
                  <a:gd name="T8" fmla="*/ 84 w 265"/>
                  <a:gd name="T9" fmla="*/ 87 h 503"/>
                  <a:gd name="T10" fmla="*/ 208 w 265"/>
                  <a:gd name="T11" fmla="*/ 0 h 503"/>
                  <a:gd name="T12" fmla="*/ 265 w 265"/>
                  <a:gd name="T13" fmla="*/ 7 h 503"/>
                  <a:gd name="T14" fmla="*/ 265 w 265"/>
                  <a:gd name="T15" fmla="*/ 87 h 503"/>
                  <a:gd name="T16" fmla="*/ 217 w 265"/>
                  <a:gd name="T17" fmla="*/ 79 h 503"/>
                  <a:gd name="T18" fmla="*/ 88 w 265"/>
                  <a:gd name="T19" fmla="*/ 279 h 503"/>
                  <a:gd name="T20" fmla="*/ 88 w 265"/>
                  <a:gd name="T21" fmla="*/ 503 h 503"/>
                  <a:gd name="T22" fmla="*/ 0 w 265"/>
                  <a:gd name="T23" fmla="*/ 503 h 503"/>
                  <a:gd name="T24" fmla="*/ 0 w 265"/>
                  <a:gd name="T25"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5" h="503">
                    <a:moveTo>
                      <a:pt x="0" y="11"/>
                    </a:moveTo>
                    <a:lnTo>
                      <a:pt x="0" y="11"/>
                    </a:lnTo>
                    <a:lnTo>
                      <a:pt x="82" y="11"/>
                    </a:lnTo>
                    <a:lnTo>
                      <a:pt x="82" y="87"/>
                    </a:lnTo>
                    <a:lnTo>
                      <a:pt x="84" y="87"/>
                    </a:lnTo>
                    <a:cubicBezTo>
                      <a:pt x="107" y="37"/>
                      <a:pt x="157" y="0"/>
                      <a:pt x="208" y="0"/>
                    </a:cubicBezTo>
                    <a:cubicBezTo>
                      <a:pt x="234" y="0"/>
                      <a:pt x="247" y="3"/>
                      <a:pt x="265" y="7"/>
                    </a:cubicBezTo>
                    <a:lnTo>
                      <a:pt x="265" y="87"/>
                    </a:lnTo>
                    <a:cubicBezTo>
                      <a:pt x="249" y="81"/>
                      <a:pt x="232" y="79"/>
                      <a:pt x="217" y="79"/>
                    </a:cubicBezTo>
                    <a:cubicBezTo>
                      <a:pt x="139" y="79"/>
                      <a:pt x="88" y="156"/>
                      <a:pt x="88" y="279"/>
                    </a:cubicBezTo>
                    <a:lnTo>
                      <a:pt x="88"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3" name="Freeform 52"/>
              <p:cNvSpPr>
                <a:spLocks noEditPoints="1"/>
              </p:cNvSpPr>
              <p:nvPr/>
            </p:nvSpPr>
            <p:spPr bwMode="gray">
              <a:xfrm>
                <a:off x="7037388" y="1725613"/>
                <a:ext cx="111125" cy="141288"/>
              </a:xfrm>
              <a:custGeom>
                <a:avLst/>
                <a:gdLst>
                  <a:gd name="T0" fmla="*/ 313 w 404"/>
                  <a:gd name="T1" fmla="*/ 269 h 514"/>
                  <a:gd name="T2" fmla="*/ 313 w 404"/>
                  <a:gd name="T3" fmla="*/ 269 h 514"/>
                  <a:gd name="T4" fmla="*/ 257 w 404"/>
                  <a:gd name="T5" fmla="*/ 267 h 514"/>
                  <a:gd name="T6" fmla="*/ 93 w 404"/>
                  <a:gd name="T7" fmla="*/ 361 h 514"/>
                  <a:gd name="T8" fmla="*/ 181 w 404"/>
                  <a:gd name="T9" fmla="*/ 441 h 514"/>
                  <a:gd name="T10" fmla="*/ 313 w 404"/>
                  <a:gd name="T11" fmla="*/ 312 h 514"/>
                  <a:gd name="T12" fmla="*/ 313 w 404"/>
                  <a:gd name="T13" fmla="*/ 269 h 514"/>
                  <a:gd name="T14" fmla="*/ 313 w 404"/>
                  <a:gd name="T15" fmla="*/ 269 h 514"/>
                  <a:gd name="T16" fmla="*/ 54 w 404"/>
                  <a:gd name="T17" fmla="*/ 46 h 514"/>
                  <a:gd name="T18" fmla="*/ 54 w 404"/>
                  <a:gd name="T19" fmla="*/ 46 h 514"/>
                  <a:gd name="T20" fmla="*/ 210 w 404"/>
                  <a:gd name="T21" fmla="*/ 0 h 514"/>
                  <a:gd name="T22" fmla="*/ 401 w 404"/>
                  <a:gd name="T23" fmla="*/ 203 h 514"/>
                  <a:gd name="T24" fmla="*/ 401 w 404"/>
                  <a:gd name="T25" fmla="*/ 406 h 514"/>
                  <a:gd name="T26" fmla="*/ 404 w 404"/>
                  <a:gd name="T27" fmla="*/ 503 h 514"/>
                  <a:gd name="T28" fmla="*/ 322 w 404"/>
                  <a:gd name="T29" fmla="*/ 503 h 514"/>
                  <a:gd name="T30" fmla="*/ 322 w 404"/>
                  <a:gd name="T31" fmla="*/ 439 h 514"/>
                  <a:gd name="T32" fmla="*/ 321 w 404"/>
                  <a:gd name="T33" fmla="*/ 439 h 514"/>
                  <a:gd name="T34" fmla="*/ 174 w 404"/>
                  <a:gd name="T35" fmla="*/ 514 h 514"/>
                  <a:gd name="T36" fmla="*/ 0 w 404"/>
                  <a:gd name="T37" fmla="*/ 361 h 514"/>
                  <a:gd name="T38" fmla="*/ 220 w 404"/>
                  <a:gd name="T39" fmla="*/ 199 h 514"/>
                  <a:gd name="T40" fmla="*/ 313 w 404"/>
                  <a:gd name="T41" fmla="*/ 201 h 514"/>
                  <a:gd name="T42" fmla="*/ 196 w 404"/>
                  <a:gd name="T43" fmla="*/ 73 h 514"/>
                  <a:gd name="T44" fmla="*/ 58 w 404"/>
                  <a:gd name="T45" fmla="*/ 123 h 514"/>
                  <a:gd name="T46" fmla="*/ 54 w 404"/>
                  <a:gd name="T47" fmla="*/ 4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4" h="514">
                    <a:moveTo>
                      <a:pt x="313" y="269"/>
                    </a:moveTo>
                    <a:lnTo>
                      <a:pt x="313" y="269"/>
                    </a:lnTo>
                    <a:cubicBezTo>
                      <a:pt x="295" y="269"/>
                      <a:pt x="276" y="267"/>
                      <a:pt x="257" y="267"/>
                    </a:cubicBezTo>
                    <a:cubicBezTo>
                      <a:pt x="210" y="267"/>
                      <a:pt x="93" y="275"/>
                      <a:pt x="93" y="361"/>
                    </a:cubicBezTo>
                    <a:cubicBezTo>
                      <a:pt x="93" y="413"/>
                      <a:pt x="141" y="441"/>
                      <a:pt x="181" y="441"/>
                    </a:cubicBezTo>
                    <a:cubicBezTo>
                      <a:pt x="268" y="441"/>
                      <a:pt x="313" y="385"/>
                      <a:pt x="313" y="312"/>
                    </a:cubicBezTo>
                    <a:lnTo>
                      <a:pt x="313" y="269"/>
                    </a:lnTo>
                    <a:lnTo>
                      <a:pt x="313" y="269"/>
                    </a:lnTo>
                    <a:close/>
                    <a:moveTo>
                      <a:pt x="54" y="46"/>
                    </a:moveTo>
                    <a:lnTo>
                      <a:pt x="54" y="46"/>
                    </a:lnTo>
                    <a:cubicBezTo>
                      <a:pt x="98" y="19"/>
                      <a:pt x="150" y="0"/>
                      <a:pt x="210" y="0"/>
                    </a:cubicBezTo>
                    <a:cubicBezTo>
                      <a:pt x="346" y="0"/>
                      <a:pt x="401" y="69"/>
                      <a:pt x="401" y="203"/>
                    </a:cubicBezTo>
                    <a:lnTo>
                      <a:pt x="401" y="406"/>
                    </a:lnTo>
                    <a:cubicBezTo>
                      <a:pt x="401" y="462"/>
                      <a:pt x="403" y="488"/>
                      <a:pt x="404" y="503"/>
                    </a:cubicBezTo>
                    <a:lnTo>
                      <a:pt x="322" y="503"/>
                    </a:lnTo>
                    <a:lnTo>
                      <a:pt x="322" y="439"/>
                    </a:lnTo>
                    <a:lnTo>
                      <a:pt x="321" y="439"/>
                    </a:lnTo>
                    <a:cubicBezTo>
                      <a:pt x="300" y="469"/>
                      <a:pt x="254" y="514"/>
                      <a:pt x="174" y="514"/>
                    </a:cubicBezTo>
                    <a:cubicBezTo>
                      <a:pt x="71" y="514"/>
                      <a:pt x="0" y="468"/>
                      <a:pt x="0" y="361"/>
                    </a:cubicBezTo>
                    <a:cubicBezTo>
                      <a:pt x="0" y="238"/>
                      <a:pt x="130" y="199"/>
                      <a:pt x="220" y="199"/>
                    </a:cubicBezTo>
                    <a:cubicBezTo>
                      <a:pt x="255" y="199"/>
                      <a:pt x="279" y="199"/>
                      <a:pt x="313" y="201"/>
                    </a:cubicBezTo>
                    <a:cubicBezTo>
                      <a:pt x="313" y="116"/>
                      <a:pt x="283" y="73"/>
                      <a:pt x="196" y="73"/>
                    </a:cubicBezTo>
                    <a:cubicBezTo>
                      <a:pt x="147" y="73"/>
                      <a:pt x="94" y="92"/>
                      <a:pt x="58" y="123"/>
                    </a:cubicBezTo>
                    <a:lnTo>
                      <a:pt x="54" y="4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4" name="Freeform 53"/>
              <p:cNvSpPr>
                <a:spLocks/>
              </p:cNvSpPr>
              <p:nvPr/>
            </p:nvSpPr>
            <p:spPr bwMode="gray">
              <a:xfrm>
                <a:off x="7196138" y="1725613"/>
                <a:ext cx="115888" cy="138113"/>
              </a:xfrm>
              <a:custGeom>
                <a:avLst/>
                <a:gdLst>
                  <a:gd name="T0" fmla="*/ 0 w 419"/>
                  <a:gd name="T1" fmla="*/ 11 h 503"/>
                  <a:gd name="T2" fmla="*/ 0 w 419"/>
                  <a:gd name="T3" fmla="*/ 11 h 503"/>
                  <a:gd name="T4" fmla="*/ 85 w 419"/>
                  <a:gd name="T5" fmla="*/ 11 h 503"/>
                  <a:gd name="T6" fmla="*/ 85 w 419"/>
                  <a:gd name="T7" fmla="*/ 89 h 503"/>
                  <a:gd name="T8" fmla="*/ 86 w 419"/>
                  <a:gd name="T9" fmla="*/ 89 h 503"/>
                  <a:gd name="T10" fmla="*/ 242 w 419"/>
                  <a:gd name="T11" fmla="*/ 0 h 503"/>
                  <a:gd name="T12" fmla="*/ 419 w 419"/>
                  <a:gd name="T13" fmla="*/ 211 h 503"/>
                  <a:gd name="T14" fmla="*/ 419 w 419"/>
                  <a:gd name="T15" fmla="*/ 503 h 503"/>
                  <a:gd name="T16" fmla="*/ 332 w 419"/>
                  <a:gd name="T17" fmla="*/ 503 h 503"/>
                  <a:gd name="T18" fmla="*/ 332 w 419"/>
                  <a:gd name="T19" fmla="*/ 249 h 503"/>
                  <a:gd name="T20" fmla="*/ 231 w 419"/>
                  <a:gd name="T21" fmla="*/ 73 h 503"/>
                  <a:gd name="T22" fmla="*/ 87 w 419"/>
                  <a:gd name="T23" fmla="*/ 275 h 503"/>
                  <a:gd name="T24" fmla="*/ 87 w 419"/>
                  <a:gd name="T25" fmla="*/ 503 h 503"/>
                  <a:gd name="T26" fmla="*/ 0 w 419"/>
                  <a:gd name="T27" fmla="*/ 503 h 503"/>
                  <a:gd name="T28" fmla="*/ 0 w 419"/>
                  <a:gd name="T29"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9" h="503">
                    <a:moveTo>
                      <a:pt x="0" y="11"/>
                    </a:moveTo>
                    <a:lnTo>
                      <a:pt x="0" y="11"/>
                    </a:lnTo>
                    <a:lnTo>
                      <a:pt x="85" y="11"/>
                    </a:lnTo>
                    <a:lnTo>
                      <a:pt x="85" y="89"/>
                    </a:lnTo>
                    <a:lnTo>
                      <a:pt x="86" y="89"/>
                    </a:lnTo>
                    <a:cubicBezTo>
                      <a:pt x="112" y="34"/>
                      <a:pt x="176" y="0"/>
                      <a:pt x="242" y="0"/>
                    </a:cubicBezTo>
                    <a:cubicBezTo>
                      <a:pt x="365" y="0"/>
                      <a:pt x="419" y="79"/>
                      <a:pt x="419" y="211"/>
                    </a:cubicBezTo>
                    <a:lnTo>
                      <a:pt x="419" y="503"/>
                    </a:lnTo>
                    <a:lnTo>
                      <a:pt x="332" y="503"/>
                    </a:lnTo>
                    <a:lnTo>
                      <a:pt x="332" y="249"/>
                    </a:lnTo>
                    <a:cubicBezTo>
                      <a:pt x="332" y="134"/>
                      <a:pt x="308" y="78"/>
                      <a:pt x="231" y="73"/>
                    </a:cubicBezTo>
                    <a:cubicBezTo>
                      <a:pt x="132" y="73"/>
                      <a:pt x="87" y="156"/>
                      <a:pt x="87" y="27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5" name="Freeform 54"/>
              <p:cNvSpPr>
                <a:spLocks/>
              </p:cNvSpPr>
              <p:nvPr/>
            </p:nvSpPr>
            <p:spPr bwMode="gray">
              <a:xfrm>
                <a:off x="7348538" y="1725613"/>
                <a:ext cx="82550" cy="141288"/>
              </a:xfrm>
              <a:custGeom>
                <a:avLst/>
                <a:gdLst>
                  <a:gd name="T0" fmla="*/ 7 w 298"/>
                  <a:gd name="T1" fmla="*/ 406 h 514"/>
                  <a:gd name="T2" fmla="*/ 7 w 298"/>
                  <a:gd name="T3" fmla="*/ 406 h 514"/>
                  <a:gd name="T4" fmla="*/ 116 w 298"/>
                  <a:gd name="T5" fmla="*/ 441 h 514"/>
                  <a:gd name="T6" fmla="*/ 205 w 298"/>
                  <a:gd name="T7" fmla="*/ 371 h 514"/>
                  <a:gd name="T8" fmla="*/ 0 w 298"/>
                  <a:gd name="T9" fmla="*/ 151 h 514"/>
                  <a:gd name="T10" fmla="*/ 167 w 298"/>
                  <a:gd name="T11" fmla="*/ 0 h 514"/>
                  <a:gd name="T12" fmla="*/ 276 w 298"/>
                  <a:gd name="T13" fmla="*/ 19 h 514"/>
                  <a:gd name="T14" fmla="*/ 269 w 298"/>
                  <a:gd name="T15" fmla="*/ 98 h 514"/>
                  <a:gd name="T16" fmla="*/ 177 w 298"/>
                  <a:gd name="T17" fmla="*/ 73 h 514"/>
                  <a:gd name="T18" fmla="*/ 93 w 298"/>
                  <a:gd name="T19" fmla="*/ 133 h 514"/>
                  <a:gd name="T20" fmla="*/ 298 w 298"/>
                  <a:gd name="T21" fmla="*/ 361 h 514"/>
                  <a:gd name="T22" fmla="*/ 133 w 298"/>
                  <a:gd name="T23" fmla="*/ 514 h 514"/>
                  <a:gd name="T24" fmla="*/ 3 w 298"/>
                  <a:gd name="T25" fmla="*/ 487 h 514"/>
                  <a:gd name="T26" fmla="*/ 7 w 298"/>
                  <a:gd name="T27" fmla="*/ 40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8" h="514">
                    <a:moveTo>
                      <a:pt x="7" y="406"/>
                    </a:moveTo>
                    <a:lnTo>
                      <a:pt x="7" y="406"/>
                    </a:lnTo>
                    <a:cubicBezTo>
                      <a:pt x="42" y="429"/>
                      <a:pt x="91" y="441"/>
                      <a:pt x="116" y="441"/>
                    </a:cubicBezTo>
                    <a:cubicBezTo>
                      <a:pt x="156" y="441"/>
                      <a:pt x="205" y="424"/>
                      <a:pt x="205" y="371"/>
                    </a:cubicBezTo>
                    <a:cubicBezTo>
                      <a:pt x="205" y="281"/>
                      <a:pt x="0" y="289"/>
                      <a:pt x="0" y="151"/>
                    </a:cubicBezTo>
                    <a:cubicBezTo>
                      <a:pt x="0" y="49"/>
                      <a:pt x="73" y="0"/>
                      <a:pt x="167" y="0"/>
                    </a:cubicBezTo>
                    <a:cubicBezTo>
                      <a:pt x="208" y="0"/>
                      <a:pt x="242" y="8"/>
                      <a:pt x="276" y="19"/>
                    </a:cubicBezTo>
                    <a:lnTo>
                      <a:pt x="269" y="98"/>
                    </a:lnTo>
                    <a:cubicBezTo>
                      <a:pt x="249" y="86"/>
                      <a:pt x="197" y="73"/>
                      <a:pt x="177" y="73"/>
                    </a:cubicBezTo>
                    <a:cubicBezTo>
                      <a:pt x="132" y="73"/>
                      <a:pt x="93" y="92"/>
                      <a:pt x="93" y="133"/>
                    </a:cubicBezTo>
                    <a:cubicBezTo>
                      <a:pt x="93" y="233"/>
                      <a:pt x="298" y="204"/>
                      <a:pt x="298" y="361"/>
                    </a:cubicBezTo>
                    <a:cubicBezTo>
                      <a:pt x="298" y="466"/>
                      <a:pt x="218" y="514"/>
                      <a:pt x="133" y="514"/>
                    </a:cubicBezTo>
                    <a:cubicBezTo>
                      <a:pt x="88" y="514"/>
                      <a:pt x="43" y="509"/>
                      <a:pt x="3" y="487"/>
                    </a:cubicBezTo>
                    <a:lnTo>
                      <a:pt x="7" y="40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6" name="Freeform 55"/>
              <p:cNvSpPr>
                <a:spLocks/>
              </p:cNvSpPr>
              <p:nvPr/>
            </p:nvSpPr>
            <p:spPr bwMode="gray">
              <a:xfrm>
                <a:off x="7451725" y="1660526"/>
                <a:ext cx="92075" cy="203200"/>
              </a:xfrm>
              <a:custGeom>
                <a:avLst/>
                <a:gdLst>
                  <a:gd name="T0" fmla="*/ 112 w 329"/>
                  <a:gd name="T1" fmla="*/ 315 h 734"/>
                  <a:gd name="T2" fmla="*/ 112 w 329"/>
                  <a:gd name="T3" fmla="*/ 315 h 734"/>
                  <a:gd name="T4" fmla="*/ 0 w 329"/>
                  <a:gd name="T5" fmla="*/ 315 h 734"/>
                  <a:gd name="T6" fmla="*/ 0 w 329"/>
                  <a:gd name="T7" fmla="*/ 242 h 734"/>
                  <a:gd name="T8" fmla="*/ 112 w 329"/>
                  <a:gd name="T9" fmla="*/ 242 h 734"/>
                  <a:gd name="T10" fmla="*/ 112 w 329"/>
                  <a:gd name="T11" fmla="*/ 197 h 734"/>
                  <a:gd name="T12" fmla="*/ 270 w 329"/>
                  <a:gd name="T13" fmla="*/ 0 h 734"/>
                  <a:gd name="T14" fmla="*/ 329 w 329"/>
                  <a:gd name="T15" fmla="*/ 5 h 734"/>
                  <a:gd name="T16" fmla="*/ 325 w 329"/>
                  <a:gd name="T17" fmla="*/ 79 h 734"/>
                  <a:gd name="T18" fmla="*/ 284 w 329"/>
                  <a:gd name="T19" fmla="*/ 73 h 734"/>
                  <a:gd name="T20" fmla="*/ 199 w 329"/>
                  <a:gd name="T21" fmla="*/ 190 h 734"/>
                  <a:gd name="T22" fmla="*/ 199 w 329"/>
                  <a:gd name="T23" fmla="*/ 242 h 734"/>
                  <a:gd name="T24" fmla="*/ 324 w 329"/>
                  <a:gd name="T25" fmla="*/ 242 h 734"/>
                  <a:gd name="T26" fmla="*/ 324 w 329"/>
                  <a:gd name="T27" fmla="*/ 315 h 734"/>
                  <a:gd name="T28" fmla="*/ 199 w 329"/>
                  <a:gd name="T29" fmla="*/ 315 h 734"/>
                  <a:gd name="T30" fmla="*/ 199 w 329"/>
                  <a:gd name="T31" fmla="*/ 734 h 734"/>
                  <a:gd name="T32" fmla="*/ 112 w 329"/>
                  <a:gd name="T33" fmla="*/ 734 h 734"/>
                  <a:gd name="T34" fmla="*/ 112 w 329"/>
                  <a:gd name="T35" fmla="*/ 315 h 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9" h="734">
                    <a:moveTo>
                      <a:pt x="112" y="315"/>
                    </a:moveTo>
                    <a:lnTo>
                      <a:pt x="112" y="315"/>
                    </a:lnTo>
                    <a:lnTo>
                      <a:pt x="0" y="315"/>
                    </a:lnTo>
                    <a:lnTo>
                      <a:pt x="0" y="242"/>
                    </a:lnTo>
                    <a:lnTo>
                      <a:pt x="112" y="242"/>
                    </a:lnTo>
                    <a:lnTo>
                      <a:pt x="112" y="197"/>
                    </a:lnTo>
                    <a:cubicBezTo>
                      <a:pt x="112" y="78"/>
                      <a:pt x="141" y="0"/>
                      <a:pt x="270" y="0"/>
                    </a:cubicBezTo>
                    <a:cubicBezTo>
                      <a:pt x="293" y="0"/>
                      <a:pt x="312" y="2"/>
                      <a:pt x="329" y="5"/>
                    </a:cubicBezTo>
                    <a:lnTo>
                      <a:pt x="325" y="79"/>
                    </a:lnTo>
                    <a:cubicBezTo>
                      <a:pt x="315" y="75"/>
                      <a:pt x="298" y="73"/>
                      <a:pt x="284" y="73"/>
                    </a:cubicBezTo>
                    <a:cubicBezTo>
                      <a:pt x="208" y="73"/>
                      <a:pt x="199" y="123"/>
                      <a:pt x="199" y="190"/>
                    </a:cubicBezTo>
                    <a:lnTo>
                      <a:pt x="199" y="242"/>
                    </a:lnTo>
                    <a:lnTo>
                      <a:pt x="324" y="242"/>
                    </a:lnTo>
                    <a:lnTo>
                      <a:pt x="324" y="315"/>
                    </a:lnTo>
                    <a:lnTo>
                      <a:pt x="199" y="315"/>
                    </a:lnTo>
                    <a:lnTo>
                      <a:pt x="199" y="734"/>
                    </a:lnTo>
                    <a:lnTo>
                      <a:pt x="112" y="734"/>
                    </a:lnTo>
                    <a:lnTo>
                      <a:pt x="112" y="315"/>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7" name="Freeform 56"/>
              <p:cNvSpPr>
                <a:spLocks noEditPoints="1"/>
              </p:cNvSpPr>
              <p:nvPr/>
            </p:nvSpPr>
            <p:spPr bwMode="gray">
              <a:xfrm>
                <a:off x="7564438" y="1725613"/>
                <a:ext cx="134938" cy="141288"/>
              </a:xfrm>
              <a:custGeom>
                <a:avLst/>
                <a:gdLst>
                  <a:gd name="T0" fmla="*/ 242 w 483"/>
                  <a:gd name="T1" fmla="*/ 441 h 514"/>
                  <a:gd name="T2" fmla="*/ 242 w 483"/>
                  <a:gd name="T3" fmla="*/ 441 h 514"/>
                  <a:gd name="T4" fmla="*/ 390 w 483"/>
                  <a:gd name="T5" fmla="*/ 257 h 514"/>
                  <a:gd name="T6" fmla="*/ 242 w 483"/>
                  <a:gd name="T7" fmla="*/ 73 h 514"/>
                  <a:gd name="T8" fmla="*/ 93 w 483"/>
                  <a:gd name="T9" fmla="*/ 257 h 514"/>
                  <a:gd name="T10" fmla="*/ 242 w 483"/>
                  <a:gd name="T11" fmla="*/ 441 h 514"/>
                  <a:gd name="T12" fmla="*/ 242 w 483"/>
                  <a:gd name="T13" fmla="*/ 441 h 514"/>
                  <a:gd name="T14" fmla="*/ 242 w 483"/>
                  <a:gd name="T15" fmla="*/ 0 h 514"/>
                  <a:gd name="T16" fmla="*/ 242 w 483"/>
                  <a:gd name="T17" fmla="*/ 0 h 514"/>
                  <a:gd name="T18" fmla="*/ 483 w 483"/>
                  <a:gd name="T19" fmla="*/ 257 h 514"/>
                  <a:gd name="T20" fmla="*/ 242 w 483"/>
                  <a:gd name="T21" fmla="*/ 514 h 514"/>
                  <a:gd name="T22" fmla="*/ 0 w 483"/>
                  <a:gd name="T23" fmla="*/ 257 h 514"/>
                  <a:gd name="T24" fmla="*/ 242 w 483"/>
                  <a:gd name="T25"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3" h="514">
                    <a:moveTo>
                      <a:pt x="242" y="441"/>
                    </a:moveTo>
                    <a:lnTo>
                      <a:pt x="242" y="441"/>
                    </a:lnTo>
                    <a:cubicBezTo>
                      <a:pt x="344" y="441"/>
                      <a:pt x="390" y="345"/>
                      <a:pt x="390" y="257"/>
                    </a:cubicBezTo>
                    <a:cubicBezTo>
                      <a:pt x="390" y="164"/>
                      <a:pt x="335" y="73"/>
                      <a:pt x="242" y="73"/>
                    </a:cubicBezTo>
                    <a:cubicBezTo>
                      <a:pt x="148" y="73"/>
                      <a:pt x="93" y="164"/>
                      <a:pt x="93" y="257"/>
                    </a:cubicBezTo>
                    <a:cubicBezTo>
                      <a:pt x="93" y="345"/>
                      <a:pt x="139" y="441"/>
                      <a:pt x="242" y="441"/>
                    </a:cubicBezTo>
                    <a:lnTo>
                      <a:pt x="242" y="441"/>
                    </a:lnTo>
                    <a:close/>
                    <a:moveTo>
                      <a:pt x="242" y="0"/>
                    </a:moveTo>
                    <a:lnTo>
                      <a:pt x="242" y="0"/>
                    </a:lnTo>
                    <a:cubicBezTo>
                      <a:pt x="386" y="0"/>
                      <a:pt x="483" y="108"/>
                      <a:pt x="483" y="257"/>
                    </a:cubicBezTo>
                    <a:cubicBezTo>
                      <a:pt x="483" y="397"/>
                      <a:pt x="384" y="514"/>
                      <a:pt x="242" y="514"/>
                    </a:cubicBezTo>
                    <a:cubicBezTo>
                      <a:pt x="99" y="514"/>
                      <a:pt x="0" y="397"/>
                      <a:pt x="0" y="257"/>
                    </a:cubicBezTo>
                    <a:cubicBezTo>
                      <a:pt x="0" y="108"/>
                      <a:pt x="97" y="0"/>
                      <a:pt x="242" y="0"/>
                    </a:cubicBez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8" name="Freeform 57"/>
              <p:cNvSpPr>
                <a:spLocks/>
              </p:cNvSpPr>
              <p:nvPr/>
            </p:nvSpPr>
            <p:spPr bwMode="gray">
              <a:xfrm>
                <a:off x="7737475" y="1725613"/>
                <a:ext cx="74613" cy="138113"/>
              </a:xfrm>
              <a:custGeom>
                <a:avLst/>
                <a:gdLst>
                  <a:gd name="T0" fmla="*/ 0 w 266"/>
                  <a:gd name="T1" fmla="*/ 11 h 503"/>
                  <a:gd name="T2" fmla="*/ 0 w 266"/>
                  <a:gd name="T3" fmla="*/ 11 h 503"/>
                  <a:gd name="T4" fmla="*/ 82 w 266"/>
                  <a:gd name="T5" fmla="*/ 11 h 503"/>
                  <a:gd name="T6" fmla="*/ 82 w 266"/>
                  <a:gd name="T7" fmla="*/ 87 h 503"/>
                  <a:gd name="T8" fmla="*/ 84 w 266"/>
                  <a:gd name="T9" fmla="*/ 87 h 503"/>
                  <a:gd name="T10" fmla="*/ 208 w 266"/>
                  <a:gd name="T11" fmla="*/ 0 h 503"/>
                  <a:gd name="T12" fmla="*/ 266 w 266"/>
                  <a:gd name="T13" fmla="*/ 7 h 503"/>
                  <a:gd name="T14" fmla="*/ 266 w 266"/>
                  <a:gd name="T15" fmla="*/ 87 h 503"/>
                  <a:gd name="T16" fmla="*/ 217 w 266"/>
                  <a:gd name="T17" fmla="*/ 79 h 503"/>
                  <a:gd name="T18" fmla="*/ 88 w 266"/>
                  <a:gd name="T19" fmla="*/ 279 h 503"/>
                  <a:gd name="T20" fmla="*/ 88 w 266"/>
                  <a:gd name="T21" fmla="*/ 503 h 503"/>
                  <a:gd name="T22" fmla="*/ 0 w 266"/>
                  <a:gd name="T23" fmla="*/ 503 h 503"/>
                  <a:gd name="T24" fmla="*/ 0 w 266"/>
                  <a:gd name="T25"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6" h="503">
                    <a:moveTo>
                      <a:pt x="0" y="11"/>
                    </a:moveTo>
                    <a:lnTo>
                      <a:pt x="0" y="11"/>
                    </a:lnTo>
                    <a:lnTo>
                      <a:pt x="82" y="11"/>
                    </a:lnTo>
                    <a:lnTo>
                      <a:pt x="82" y="87"/>
                    </a:lnTo>
                    <a:lnTo>
                      <a:pt x="84" y="87"/>
                    </a:lnTo>
                    <a:cubicBezTo>
                      <a:pt x="108" y="37"/>
                      <a:pt x="158" y="0"/>
                      <a:pt x="208" y="0"/>
                    </a:cubicBezTo>
                    <a:cubicBezTo>
                      <a:pt x="234" y="0"/>
                      <a:pt x="247" y="3"/>
                      <a:pt x="266" y="7"/>
                    </a:cubicBezTo>
                    <a:lnTo>
                      <a:pt x="266" y="87"/>
                    </a:lnTo>
                    <a:cubicBezTo>
                      <a:pt x="250" y="81"/>
                      <a:pt x="232" y="79"/>
                      <a:pt x="217" y="79"/>
                    </a:cubicBezTo>
                    <a:cubicBezTo>
                      <a:pt x="139" y="79"/>
                      <a:pt x="88" y="156"/>
                      <a:pt x="88" y="279"/>
                    </a:cubicBezTo>
                    <a:lnTo>
                      <a:pt x="88"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9" name="Freeform 58"/>
              <p:cNvSpPr>
                <a:spLocks/>
              </p:cNvSpPr>
              <p:nvPr/>
            </p:nvSpPr>
            <p:spPr bwMode="gray">
              <a:xfrm>
                <a:off x="7845425" y="1725613"/>
                <a:ext cx="188913" cy="138113"/>
              </a:xfrm>
              <a:custGeom>
                <a:avLst/>
                <a:gdLst>
                  <a:gd name="T0" fmla="*/ 0 w 681"/>
                  <a:gd name="T1" fmla="*/ 11 h 503"/>
                  <a:gd name="T2" fmla="*/ 0 w 681"/>
                  <a:gd name="T3" fmla="*/ 11 h 503"/>
                  <a:gd name="T4" fmla="*/ 82 w 681"/>
                  <a:gd name="T5" fmla="*/ 11 h 503"/>
                  <a:gd name="T6" fmla="*/ 82 w 681"/>
                  <a:gd name="T7" fmla="*/ 83 h 503"/>
                  <a:gd name="T8" fmla="*/ 83 w 681"/>
                  <a:gd name="T9" fmla="*/ 83 h 503"/>
                  <a:gd name="T10" fmla="*/ 234 w 681"/>
                  <a:gd name="T11" fmla="*/ 0 h 503"/>
                  <a:gd name="T12" fmla="*/ 369 w 681"/>
                  <a:gd name="T13" fmla="*/ 95 h 503"/>
                  <a:gd name="T14" fmla="*/ 516 w 681"/>
                  <a:gd name="T15" fmla="*/ 0 h 503"/>
                  <a:gd name="T16" fmla="*/ 681 w 681"/>
                  <a:gd name="T17" fmla="*/ 188 h 503"/>
                  <a:gd name="T18" fmla="*/ 681 w 681"/>
                  <a:gd name="T19" fmla="*/ 503 h 503"/>
                  <a:gd name="T20" fmla="*/ 593 w 681"/>
                  <a:gd name="T21" fmla="*/ 503 h 503"/>
                  <a:gd name="T22" fmla="*/ 593 w 681"/>
                  <a:gd name="T23" fmla="*/ 210 h 503"/>
                  <a:gd name="T24" fmla="*/ 509 w 681"/>
                  <a:gd name="T25" fmla="*/ 73 h 503"/>
                  <a:gd name="T26" fmla="*/ 384 w 681"/>
                  <a:gd name="T27" fmla="*/ 255 h 503"/>
                  <a:gd name="T28" fmla="*/ 384 w 681"/>
                  <a:gd name="T29" fmla="*/ 503 h 503"/>
                  <a:gd name="T30" fmla="*/ 297 w 681"/>
                  <a:gd name="T31" fmla="*/ 503 h 503"/>
                  <a:gd name="T32" fmla="*/ 297 w 681"/>
                  <a:gd name="T33" fmla="*/ 210 h 503"/>
                  <a:gd name="T34" fmla="*/ 212 w 681"/>
                  <a:gd name="T35" fmla="*/ 73 h 503"/>
                  <a:gd name="T36" fmla="*/ 87 w 681"/>
                  <a:gd name="T37" fmla="*/ 255 h 503"/>
                  <a:gd name="T38" fmla="*/ 87 w 681"/>
                  <a:gd name="T39" fmla="*/ 503 h 503"/>
                  <a:gd name="T40" fmla="*/ 0 w 681"/>
                  <a:gd name="T41" fmla="*/ 503 h 503"/>
                  <a:gd name="T42" fmla="*/ 0 w 681"/>
                  <a:gd name="T43"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1" h="503">
                    <a:moveTo>
                      <a:pt x="0" y="11"/>
                    </a:moveTo>
                    <a:lnTo>
                      <a:pt x="0" y="11"/>
                    </a:lnTo>
                    <a:lnTo>
                      <a:pt x="82" y="11"/>
                    </a:lnTo>
                    <a:lnTo>
                      <a:pt x="82" y="83"/>
                    </a:lnTo>
                    <a:lnTo>
                      <a:pt x="83" y="83"/>
                    </a:lnTo>
                    <a:cubicBezTo>
                      <a:pt x="117" y="26"/>
                      <a:pt x="164" y="0"/>
                      <a:pt x="234" y="0"/>
                    </a:cubicBezTo>
                    <a:cubicBezTo>
                      <a:pt x="289" y="0"/>
                      <a:pt x="344" y="29"/>
                      <a:pt x="369" y="95"/>
                    </a:cubicBezTo>
                    <a:cubicBezTo>
                      <a:pt x="402" y="25"/>
                      <a:pt x="473" y="0"/>
                      <a:pt x="516" y="0"/>
                    </a:cubicBezTo>
                    <a:cubicBezTo>
                      <a:pt x="637" y="0"/>
                      <a:pt x="681" y="81"/>
                      <a:pt x="681" y="188"/>
                    </a:cubicBezTo>
                    <a:lnTo>
                      <a:pt x="681" y="503"/>
                    </a:lnTo>
                    <a:lnTo>
                      <a:pt x="593" y="503"/>
                    </a:lnTo>
                    <a:lnTo>
                      <a:pt x="593" y="210"/>
                    </a:lnTo>
                    <a:cubicBezTo>
                      <a:pt x="593" y="149"/>
                      <a:pt x="579" y="73"/>
                      <a:pt x="509" y="73"/>
                    </a:cubicBezTo>
                    <a:cubicBezTo>
                      <a:pt x="419" y="73"/>
                      <a:pt x="384" y="164"/>
                      <a:pt x="384" y="255"/>
                    </a:cubicBezTo>
                    <a:lnTo>
                      <a:pt x="384" y="503"/>
                    </a:lnTo>
                    <a:lnTo>
                      <a:pt x="297" y="503"/>
                    </a:lnTo>
                    <a:lnTo>
                      <a:pt x="297" y="210"/>
                    </a:lnTo>
                    <a:cubicBezTo>
                      <a:pt x="297" y="149"/>
                      <a:pt x="282" y="73"/>
                      <a:pt x="212" y="73"/>
                    </a:cubicBezTo>
                    <a:cubicBezTo>
                      <a:pt x="122" y="73"/>
                      <a:pt x="87" y="164"/>
                      <a:pt x="87" y="25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0" name="Freeform 59"/>
              <p:cNvSpPr>
                <a:spLocks noEditPoints="1"/>
              </p:cNvSpPr>
              <p:nvPr/>
            </p:nvSpPr>
            <p:spPr bwMode="gray">
              <a:xfrm>
                <a:off x="8081963" y="1670051"/>
                <a:ext cx="28575" cy="193675"/>
              </a:xfrm>
              <a:custGeom>
                <a:avLst/>
                <a:gdLst>
                  <a:gd name="T0" fmla="*/ 6 w 99"/>
                  <a:gd name="T1" fmla="*/ 212 h 704"/>
                  <a:gd name="T2" fmla="*/ 6 w 99"/>
                  <a:gd name="T3" fmla="*/ 212 h 704"/>
                  <a:gd name="T4" fmla="*/ 93 w 99"/>
                  <a:gd name="T5" fmla="*/ 212 h 704"/>
                  <a:gd name="T6" fmla="*/ 93 w 99"/>
                  <a:gd name="T7" fmla="*/ 704 h 704"/>
                  <a:gd name="T8" fmla="*/ 6 w 99"/>
                  <a:gd name="T9" fmla="*/ 704 h 704"/>
                  <a:gd name="T10" fmla="*/ 6 w 99"/>
                  <a:gd name="T11" fmla="*/ 212 h 704"/>
                  <a:gd name="T12" fmla="*/ 0 w 99"/>
                  <a:gd name="T13" fmla="*/ 0 h 704"/>
                  <a:gd name="T14" fmla="*/ 0 w 99"/>
                  <a:gd name="T15" fmla="*/ 0 h 704"/>
                  <a:gd name="T16" fmla="*/ 99 w 99"/>
                  <a:gd name="T17" fmla="*/ 0 h 704"/>
                  <a:gd name="T18" fmla="*/ 99 w 99"/>
                  <a:gd name="T19" fmla="*/ 103 h 704"/>
                  <a:gd name="T20" fmla="*/ 0 w 99"/>
                  <a:gd name="T21" fmla="*/ 103 h 704"/>
                  <a:gd name="T22" fmla="*/ 0 w 99"/>
                  <a:gd name="T23" fmla="*/ 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704">
                    <a:moveTo>
                      <a:pt x="6" y="212"/>
                    </a:moveTo>
                    <a:lnTo>
                      <a:pt x="6" y="212"/>
                    </a:lnTo>
                    <a:lnTo>
                      <a:pt x="93" y="212"/>
                    </a:lnTo>
                    <a:lnTo>
                      <a:pt x="93" y="704"/>
                    </a:lnTo>
                    <a:lnTo>
                      <a:pt x="6" y="704"/>
                    </a:lnTo>
                    <a:lnTo>
                      <a:pt x="6" y="212"/>
                    </a:lnTo>
                    <a:close/>
                    <a:moveTo>
                      <a:pt x="0" y="0"/>
                    </a:moveTo>
                    <a:lnTo>
                      <a:pt x="0" y="0"/>
                    </a:lnTo>
                    <a:lnTo>
                      <a:pt x="99" y="0"/>
                    </a:lnTo>
                    <a:lnTo>
                      <a:pt x="99" y="103"/>
                    </a:lnTo>
                    <a:lnTo>
                      <a:pt x="0" y="103"/>
                    </a:lnTo>
                    <a:lnTo>
                      <a:pt x="0" y="0"/>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1" name="Freeform 60"/>
              <p:cNvSpPr>
                <a:spLocks/>
              </p:cNvSpPr>
              <p:nvPr/>
            </p:nvSpPr>
            <p:spPr bwMode="gray">
              <a:xfrm>
                <a:off x="8159750" y="1725613"/>
                <a:ext cx="115888" cy="138113"/>
              </a:xfrm>
              <a:custGeom>
                <a:avLst/>
                <a:gdLst>
                  <a:gd name="T0" fmla="*/ 0 w 419"/>
                  <a:gd name="T1" fmla="*/ 11 h 503"/>
                  <a:gd name="T2" fmla="*/ 0 w 419"/>
                  <a:gd name="T3" fmla="*/ 11 h 503"/>
                  <a:gd name="T4" fmla="*/ 84 w 419"/>
                  <a:gd name="T5" fmla="*/ 11 h 503"/>
                  <a:gd name="T6" fmla="*/ 84 w 419"/>
                  <a:gd name="T7" fmla="*/ 89 h 503"/>
                  <a:gd name="T8" fmla="*/ 86 w 419"/>
                  <a:gd name="T9" fmla="*/ 89 h 503"/>
                  <a:gd name="T10" fmla="*/ 242 w 419"/>
                  <a:gd name="T11" fmla="*/ 0 h 503"/>
                  <a:gd name="T12" fmla="*/ 419 w 419"/>
                  <a:gd name="T13" fmla="*/ 211 h 503"/>
                  <a:gd name="T14" fmla="*/ 419 w 419"/>
                  <a:gd name="T15" fmla="*/ 503 h 503"/>
                  <a:gd name="T16" fmla="*/ 332 w 419"/>
                  <a:gd name="T17" fmla="*/ 503 h 503"/>
                  <a:gd name="T18" fmla="*/ 332 w 419"/>
                  <a:gd name="T19" fmla="*/ 249 h 503"/>
                  <a:gd name="T20" fmla="*/ 231 w 419"/>
                  <a:gd name="T21" fmla="*/ 73 h 503"/>
                  <a:gd name="T22" fmla="*/ 87 w 419"/>
                  <a:gd name="T23" fmla="*/ 275 h 503"/>
                  <a:gd name="T24" fmla="*/ 87 w 419"/>
                  <a:gd name="T25" fmla="*/ 503 h 503"/>
                  <a:gd name="T26" fmla="*/ 0 w 419"/>
                  <a:gd name="T27" fmla="*/ 503 h 503"/>
                  <a:gd name="T28" fmla="*/ 0 w 419"/>
                  <a:gd name="T29"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9" h="503">
                    <a:moveTo>
                      <a:pt x="0" y="11"/>
                    </a:moveTo>
                    <a:lnTo>
                      <a:pt x="0" y="11"/>
                    </a:lnTo>
                    <a:lnTo>
                      <a:pt x="84" y="11"/>
                    </a:lnTo>
                    <a:lnTo>
                      <a:pt x="84" y="89"/>
                    </a:lnTo>
                    <a:lnTo>
                      <a:pt x="86" y="89"/>
                    </a:lnTo>
                    <a:cubicBezTo>
                      <a:pt x="113" y="34"/>
                      <a:pt x="176" y="0"/>
                      <a:pt x="242" y="0"/>
                    </a:cubicBezTo>
                    <a:cubicBezTo>
                      <a:pt x="364" y="0"/>
                      <a:pt x="419" y="79"/>
                      <a:pt x="419" y="211"/>
                    </a:cubicBezTo>
                    <a:lnTo>
                      <a:pt x="419" y="503"/>
                    </a:lnTo>
                    <a:lnTo>
                      <a:pt x="332" y="503"/>
                    </a:lnTo>
                    <a:lnTo>
                      <a:pt x="332" y="249"/>
                    </a:lnTo>
                    <a:cubicBezTo>
                      <a:pt x="332" y="134"/>
                      <a:pt x="308" y="78"/>
                      <a:pt x="231" y="73"/>
                    </a:cubicBezTo>
                    <a:cubicBezTo>
                      <a:pt x="132" y="73"/>
                      <a:pt x="87" y="156"/>
                      <a:pt x="87" y="27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2" name="Freeform 61"/>
              <p:cNvSpPr>
                <a:spLocks noEditPoints="1"/>
              </p:cNvSpPr>
              <p:nvPr/>
            </p:nvSpPr>
            <p:spPr bwMode="gray">
              <a:xfrm>
                <a:off x="8315325" y="1725613"/>
                <a:ext cx="125413" cy="198438"/>
              </a:xfrm>
              <a:custGeom>
                <a:avLst/>
                <a:gdLst>
                  <a:gd name="T0" fmla="*/ 364 w 451"/>
                  <a:gd name="T1" fmla="*/ 263 h 717"/>
                  <a:gd name="T2" fmla="*/ 364 w 451"/>
                  <a:gd name="T3" fmla="*/ 263 h 717"/>
                  <a:gd name="T4" fmla="*/ 225 w 451"/>
                  <a:gd name="T5" fmla="*/ 73 h 717"/>
                  <a:gd name="T6" fmla="*/ 93 w 451"/>
                  <a:gd name="T7" fmla="*/ 256 h 717"/>
                  <a:gd name="T8" fmla="*/ 225 w 451"/>
                  <a:gd name="T9" fmla="*/ 429 h 717"/>
                  <a:gd name="T10" fmla="*/ 364 w 451"/>
                  <a:gd name="T11" fmla="*/ 263 h 717"/>
                  <a:gd name="T12" fmla="*/ 364 w 451"/>
                  <a:gd name="T13" fmla="*/ 263 h 717"/>
                  <a:gd name="T14" fmla="*/ 451 w 451"/>
                  <a:gd name="T15" fmla="*/ 482 h 717"/>
                  <a:gd name="T16" fmla="*/ 451 w 451"/>
                  <a:gd name="T17" fmla="*/ 482 h 717"/>
                  <a:gd name="T18" fmla="*/ 206 w 451"/>
                  <a:gd name="T19" fmla="*/ 717 h 717"/>
                  <a:gd name="T20" fmla="*/ 36 w 451"/>
                  <a:gd name="T21" fmla="*/ 683 h 717"/>
                  <a:gd name="T22" fmla="*/ 46 w 451"/>
                  <a:gd name="T23" fmla="*/ 599 h 717"/>
                  <a:gd name="T24" fmla="*/ 217 w 451"/>
                  <a:gd name="T25" fmla="*/ 643 h 717"/>
                  <a:gd name="T26" fmla="*/ 364 w 451"/>
                  <a:gd name="T27" fmla="*/ 475 h 717"/>
                  <a:gd name="T28" fmla="*/ 364 w 451"/>
                  <a:gd name="T29" fmla="*/ 427 h 717"/>
                  <a:gd name="T30" fmla="*/ 362 w 451"/>
                  <a:gd name="T31" fmla="*/ 427 h 717"/>
                  <a:gd name="T32" fmla="*/ 203 w 451"/>
                  <a:gd name="T33" fmla="*/ 503 h 717"/>
                  <a:gd name="T34" fmla="*/ 0 w 451"/>
                  <a:gd name="T35" fmla="*/ 261 h 717"/>
                  <a:gd name="T36" fmla="*/ 212 w 451"/>
                  <a:gd name="T37" fmla="*/ 0 h 717"/>
                  <a:gd name="T38" fmla="*/ 368 w 451"/>
                  <a:gd name="T39" fmla="*/ 84 h 717"/>
                  <a:gd name="T40" fmla="*/ 370 w 451"/>
                  <a:gd name="T41" fmla="*/ 84 h 717"/>
                  <a:gd name="T42" fmla="*/ 370 w 451"/>
                  <a:gd name="T43" fmla="*/ 11 h 717"/>
                  <a:gd name="T44" fmla="*/ 451 w 451"/>
                  <a:gd name="T45" fmla="*/ 11 h 717"/>
                  <a:gd name="T46" fmla="*/ 451 w 451"/>
                  <a:gd name="T47" fmla="*/ 482 h 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51" h="717">
                    <a:moveTo>
                      <a:pt x="364" y="263"/>
                    </a:moveTo>
                    <a:lnTo>
                      <a:pt x="364" y="263"/>
                    </a:lnTo>
                    <a:cubicBezTo>
                      <a:pt x="364" y="161"/>
                      <a:pt x="318" y="73"/>
                      <a:pt x="225" y="73"/>
                    </a:cubicBezTo>
                    <a:cubicBezTo>
                      <a:pt x="137" y="73"/>
                      <a:pt x="93" y="172"/>
                      <a:pt x="93" y="256"/>
                    </a:cubicBezTo>
                    <a:cubicBezTo>
                      <a:pt x="93" y="349"/>
                      <a:pt x="143" y="429"/>
                      <a:pt x="225" y="429"/>
                    </a:cubicBezTo>
                    <a:cubicBezTo>
                      <a:pt x="307" y="429"/>
                      <a:pt x="364" y="354"/>
                      <a:pt x="364" y="263"/>
                    </a:cubicBezTo>
                    <a:lnTo>
                      <a:pt x="364" y="263"/>
                    </a:lnTo>
                    <a:close/>
                    <a:moveTo>
                      <a:pt x="451" y="482"/>
                    </a:moveTo>
                    <a:lnTo>
                      <a:pt x="451" y="482"/>
                    </a:lnTo>
                    <a:cubicBezTo>
                      <a:pt x="451" y="631"/>
                      <a:pt x="377" y="717"/>
                      <a:pt x="206" y="717"/>
                    </a:cubicBezTo>
                    <a:cubicBezTo>
                      <a:pt x="156" y="717"/>
                      <a:pt x="112" y="710"/>
                      <a:pt x="36" y="683"/>
                    </a:cubicBezTo>
                    <a:lnTo>
                      <a:pt x="46" y="599"/>
                    </a:lnTo>
                    <a:cubicBezTo>
                      <a:pt x="112" y="631"/>
                      <a:pt x="153" y="643"/>
                      <a:pt x="217" y="643"/>
                    </a:cubicBezTo>
                    <a:cubicBezTo>
                      <a:pt x="309" y="643"/>
                      <a:pt x="364" y="579"/>
                      <a:pt x="364" y="475"/>
                    </a:cubicBezTo>
                    <a:lnTo>
                      <a:pt x="364" y="427"/>
                    </a:lnTo>
                    <a:lnTo>
                      <a:pt x="362" y="427"/>
                    </a:lnTo>
                    <a:cubicBezTo>
                      <a:pt x="325" y="478"/>
                      <a:pt x="263" y="503"/>
                      <a:pt x="203" y="503"/>
                    </a:cubicBezTo>
                    <a:cubicBezTo>
                      <a:pt x="67" y="503"/>
                      <a:pt x="0" y="388"/>
                      <a:pt x="0" y="261"/>
                    </a:cubicBezTo>
                    <a:cubicBezTo>
                      <a:pt x="0" y="135"/>
                      <a:pt x="69" y="0"/>
                      <a:pt x="212" y="0"/>
                    </a:cubicBezTo>
                    <a:cubicBezTo>
                      <a:pt x="296" y="0"/>
                      <a:pt x="342" y="32"/>
                      <a:pt x="368" y="84"/>
                    </a:cubicBezTo>
                    <a:lnTo>
                      <a:pt x="370" y="84"/>
                    </a:lnTo>
                    <a:lnTo>
                      <a:pt x="370" y="11"/>
                    </a:lnTo>
                    <a:lnTo>
                      <a:pt x="451" y="11"/>
                    </a:lnTo>
                    <a:lnTo>
                      <a:pt x="451" y="482"/>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3" name="Freeform 62"/>
              <p:cNvSpPr>
                <a:spLocks noEditPoints="1"/>
              </p:cNvSpPr>
              <p:nvPr/>
            </p:nvSpPr>
            <p:spPr bwMode="gray">
              <a:xfrm>
                <a:off x="8548688" y="1677988"/>
                <a:ext cx="180975" cy="185738"/>
              </a:xfrm>
              <a:custGeom>
                <a:avLst/>
                <a:gdLst>
                  <a:gd name="T0" fmla="*/ 323 w 649"/>
                  <a:gd name="T1" fmla="*/ 91 h 673"/>
                  <a:gd name="T2" fmla="*/ 323 w 649"/>
                  <a:gd name="T3" fmla="*/ 91 h 673"/>
                  <a:gd name="T4" fmla="*/ 193 w 649"/>
                  <a:gd name="T5" fmla="*/ 424 h 673"/>
                  <a:gd name="T6" fmla="*/ 452 w 649"/>
                  <a:gd name="T7" fmla="*/ 424 h 673"/>
                  <a:gd name="T8" fmla="*/ 323 w 649"/>
                  <a:gd name="T9" fmla="*/ 91 h 673"/>
                  <a:gd name="T10" fmla="*/ 323 w 649"/>
                  <a:gd name="T11" fmla="*/ 91 h 673"/>
                  <a:gd name="T12" fmla="*/ 277 w 649"/>
                  <a:gd name="T13" fmla="*/ 0 h 673"/>
                  <a:gd name="T14" fmla="*/ 277 w 649"/>
                  <a:gd name="T15" fmla="*/ 0 h 673"/>
                  <a:gd name="T16" fmla="*/ 375 w 649"/>
                  <a:gd name="T17" fmla="*/ 0 h 673"/>
                  <a:gd name="T18" fmla="*/ 649 w 649"/>
                  <a:gd name="T19" fmla="*/ 673 h 673"/>
                  <a:gd name="T20" fmla="*/ 548 w 649"/>
                  <a:gd name="T21" fmla="*/ 673 h 673"/>
                  <a:gd name="T22" fmla="*/ 482 w 649"/>
                  <a:gd name="T23" fmla="*/ 503 h 673"/>
                  <a:gd name="T24" fmla="*/ 164 w 649"/>
                  <a:gd name="T25" fmla="*/ 503 h 673"/>
                  <a:gd name="T26" fmla="*/ 98 w 649"/>
                  <a:gd name="T27" fmla="*/ 673 h 673"/>
                  <a:gd name="T28" fmla="*/ 0 w 649"/>
                  <a:gd name="T29" fmla="*/ 673 h 673"/>
                  <a:gd name="T30" fmla="*/ 277 w 649"/>
                  <a:gd name="T31" fmla="*/ 0 h 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9" h="673">
                    <a:moveTo>
                      <a:pt x="323" y="91"/>
                    </a:moveTo>
                    <a:lnTo>
                      <a:pt x="323" y="91"/>
                    </a:lnTo>
                    <a:lnTo>
                      <a:pt x="193" y="424"/>
                    </a:lnTo>
                    <a:lnTo>
                      <a:pt x="452" y="424"/>
                    </a:lnTo>
                    <a:lnTo>
                      <a:pt x="323" y="91"/>
                    </a:lnTo>
                    <a:lnTo>
                      <a:pt x="323" y="91"/>
                    </a:lnTo>
                    <a:close/>
                    <a:moveTo>
                      <a:pt x="277" y="0"/>
                    </a:moveTo>
                    <a:lnTo>
                      <a:pt x="277" y="0"/>
                    </a:lnTo>
                    <a:lnTo>
                      <a:pt x="375" y="0"/>
                    </a:lnTo>
                    <a:lnTo>
                      <a:pt x="649" y="673"/>
                    </a:lnTo>
                    <a:lnTo>
                      <a:pt x="548" y="673"/>
                    </a:lnTo>
                    <a:lnTo>
                      <a:pt x="482" y="503"/>
                    </a:lnTo>
                    <a:lnTo>
                      <a:pt x="164" y="503"/>
                    </a:lnTo>
                    <a:lnTo>
                      <a:pt x="98" y="673"/>
                    </a:lnTo>
                    <a:lnTo>
                      <a:pt x="0" y="673"/>
                    </a:lnTo>
                    <a:lnTo>
                      <a:pt x="277" y="0"/>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4" name="Freeform 63"/>
              <p:cNvSpPr>
                <a:spLocks/>
              </p:cNvSpPr>
              <p:nvPr/>
            </p:nvSpPr>
            <p:spPr bwMode="gray">
              <a:xfrm>
                <a:off x="8747125" y="1725613"/>
                <a:ext cx="82550" cy="141288"/>
              </a:xfrm>
              <a:custGeom>
                <a:avLst/>
                <a:gdLst>
                  <a:gd name="T0" fmla="*/ 8 w 299"/>
                  <a:gd name="T1" fmla="*/ 406 h 514"/>
                  <a:gd name="T2" fmla="*/ 8 w 299"/>
                  <a:gd name="T3" fmla="*/ 406 h 514"/>
                  <a:gd name="T4" fmla="*/ 116 w 299"/>
                  <a:gd name="T5" fmla="*/ 441 h 514"/>
                  <a:gd name="T6" fmla="*/ 206 w 299"/>
                  <a:gd name="T7" fmla="*/ 371 h 514"/>
                  <a:gd name="T8" fmla="*/ 0 w 299"/>
                  <a:gd name="T9" fmla="*/ 151 h 514"/>
                  <a:gd name="T10" fmla="*/ 168 w 299"/>
                  <a:gd name="T11" fmla="*/ 0 h 514"/>
                  <a:gd name="T12" fmla="*/ 277 w 299"/>
                  <a:gd name="T13" fmla="*/ 19 h 514"/>
                  <a:gd name="T14" fmla="*/ 269 w 299"/>
                  <a:gd name="T15" fmla="*/ 98 h 514"/>
                  <a:gd name="T16" fmla="*/ 177 w 299"/>
                  <a:gd name="T17" fmla="*/ 73 h 514"/>
                  <a:gd name="T18" fmla="*/ 93 w 299"/>
                  <a:gd name="T19" fmla="*/ 133 h 514"/>
                  <a:gd name="T20" fmla="*/ 299 w 299"/>
                  <a:gd name="T21" fmla="*/ 361 h 514"/>
                  <a:gd name="T22" fmla="*/ 133 w 299"/>
                  <a:gd name="T23" fmla="*/ 514 h 514"/>
                  <a:gd name="T24" fmla="*/ 3 w 299"/>
                  <a:gd name="T25" fmla="*/ 487 h 514"/>
                  <a:gd name="T26" fmla="*/ 8 w 299"/>
                  <a:gd name="T27" fmla="*/ 40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9" h="514">
                    <a:moveTo>
                      <a:pt x="8" y="406"/>
                    </a:moveTo>
                    <a:lnTo>
                      <a:pt x="8" y="406"/>
                    </a:lnTo>
                    <a:cubicBezTo>
                      <a:pt x="42" y="429"/>
                      <a:pt x="91" y="441"/>
                      <a:pt x="116" y="441"/>
                    </a:cubicBezTo>
                    <a:cubicBezTo>
                      <a:pt x="157" y="441"/>
                      <a:pt x="206" y="424"/>
                      <a:pt x="206" y="371"/>
                    </a:cubicBezTo>
                    <a:cubicBezTo>
                      <a:pt x="206" y="281"/>
                      <a:pt x="0" y="289"/>
                      <a:pt x="0" y="151"/>
                    </a:cubicBezTo>
                    <a:cubicBezTo>
                      <a:pt x="0" y="49"/>
                      <a:pt x="74" y="0"/>
                      <a:pt x="168" y="0"/>
                    </a:cubicBezTo>
                    <a:cubicBezTo>
                      <a:pt x="208" y="0"/>
                      <a:pt x="242" y="8"/>
                      <a:pt x="277" y="19"/>
                    </a:cubicBezTo>
                    <a:lnTo>
                      <a:pt x="269" y="98"/>
                    </a:lnTo>
                    <a:cubicBezTo>
                      <a:pt x="250" y="86"/>
                      <a:pt x="198" y="73"/>
                      <a:pt x="177" y="73"/>
                    </a:cubicBezTo>
                    <a:cubicBezTo>
                      <a:pt x="132" y="73"/>
                      <a:pt x="93" y="92"/>
                      <a:pt x="93" y="133"/>
                    </a:cubicBezTo>
                    <a:cubicBezTo>
                      <a:pt x="93" y="233"/>
                      <a:pt x="299" y="204"/>
                      <a:pt x="299" y="361"/>
                    </a:cubicBezTo>
                    <a:cubicBezTo>
                      <a:pt x="299" y="466"/>
                      <a:pt x="218" y="514"/>
                      <a:pt x="133" y="514"/>
                    </a:cubicBezTo>
                    <a:cubicBezTo>
                      <a:pt x="89" y="514"/>
                      <a:pt x="43" y="509"/>
                      <a:pt x="3" y="487"/>
                    </a:cubicBezTo>
                    <a:lnTo>
                      <a:pt x="8" y="40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5" name="Freeform 64"/>
              <p:cNvSpPr>
                <a:spLocks/>
              </p:cNvSpPr>
              <p:nvPr/>
            </p:nvSpPr>
            <p:spPr bwMode="gray">
              <a:xfrm>
                <a:off x="8853488" y="1725613"/>
                <a:ext cx="84138" cy="141288"/>
              </a:xfrm>
              <a:custGeom>
                <a:avLst/>
                <a:gdLst>
                  <a:gd name="T0" fmla="*/ 8 w 299"/>
                  <a:gd name="T1" fmla="*/ 406 h 514"/>
                  <a:gd name="T2" fmla="*/ 8 w 299"/>
                  <a:gd name="T3" fmla="*/ 406 h 514"/>
                  <a:gd name="T4" fmla="*/ 117 w 299"/>
                  <a:gd name="T5" fmla="*/ 441 h 514"/>
                  <a:gd name="T6" fmla="*/ 206 w 299"/>
                  <a:gd name="T7" fmla="*/ 371 h 514"/>
                  <a:gd name="T8" fmla="*/ 0 w 299"/>
                  <a:gd name="T9" fmla="*/ 151 h 514"/>
                  <a:gd name="T10" fmla="*/ 168 w 299"/>
                  <a:gd name="T11" fmla="*/ 0 h 514"/>
                  <a:gd name="T12" fmla="*/ 277 w 299"/>
                  <a:gd name="T13" fmla="*/ 19 h 514"/>
                  <a:gd name="T14" fmla="*/ 269 w 299"/>
                  <a:gd name="T15" fmla="*/ 98 h 514"/>
                  <a:gd name="T16" fmla="*/ 177 w 299"/>
                  <a:gd name="T17" fmla="*/ 73 h 514"/>
                  <a:gd name="T18" fmla="*/ 93 w 299"/>
                  <a:gd name="T19" fmla="*/ 133 h 514"/>
                  <a:gd name="T20" fmla="*/ 299 w 299"/>
                  <a:gd name="T21" fmla="*/ 361 h 514"/>
                  <a:gd name="T22" fmla="*/ 133 w 299"/>
                  <a:gd name="T23" fmla="*/ 514 h 514"/>
                  <a:gd name="T24" fmla="*/ 3 w 299"/>
                  <a:gd name="T25" fmla="*/ 487 h 514"/>
                  <a:gd name="T26" fmla="*/ 8 w 299"/>
                  <a:gd name="T27" fmla="*/ 40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9" h="514">
                    <a:moveTo>
                      <a:pt x="8" y="406"/>
                    </a:moveTo>
                    <a:lnTo>
                      <a:pt x="8" y="406"/>
                    </a:lnTo>
                    <a:cubicBezTo>
                      <a:pt x="42" y="429"/>
                      <a:pt x="92" y="441"/>
                      <a:pt x="117" y="441"/>
                    </a:cubicBezTo>
                    <a:cubicBezTo>
                      <a:pt x="156" y="441"/>
                      <a:pt x="206" y="424"/>
                      <a:pt x="206" y="371"/>
                    </a:cubicBezTo>
                    <a:cubicBezTo>
                      <a:pt x="206" y="281"/>
                      <a:pt x="0" y="289"/>
                      <a:pt x="0" y="151"/>
                    </a:cubicBezTo>
                    <a:cubicBezTo>
                      <a:pt x="0" y="49"/>
                      <a:pt x="74" y="0"/>
                      <a:pt x="168" y="0"/>
                    </a:cubicBezTo>
                    <a:cubicBezTo>
                      <a:pt x="209" y="0"/>
                      <a:pt x="242" y="8"/>
                      <a:pt x="277" y="19"/>
                    </a:cubicBezTo>
                    <a:lnTo>
                      <a:pt x="269" y="98"/>
                    </a:lnTo>
                    <a:cubicBezTo>
                      <a:pt x="250" y="86"/>
                      <a:pt x="198" y="73"/>
                      <a:pt x="177" y="73"/>
                    </a:cubicBezTo>
                    <a:cubicBezTo>
                      <a:pt x="132" y="73"/>
                      <a:pt x="93" y="92"/>
                      <a:pt x="93" y="133"/>
                    </a:cubicBezTo>
                    <a:cubicBezTo>
                      <a:pt x="93" y="233"/>
                      <a:pt x="299" y="204"/>
                      <a:pt x="299" y="361"/>
                    </a:cubicBezTo>
                    <a:cubicBezTo>
                      <a:pt x="299" y="466"/>
                      <a:pt x="218" y="514"/>
                      <a:pt x="133" y="514"/>
                    </a:cubicBezTo>
                    <a:cubicBezTo>
                      <a:pt x="89" y="514"/>
                      <a:pt x="43" y="509"/>
                      <a:pt x="3" y="487"/>
                    </a:cubicBezTo>
                    <a:lnTo>
                      <a:pt x="8" y="40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6" name="Freeform 65"/>
              <p:cNvSpPr>
                <a:spLocks/>
              </p:cNvSpPr>
              <p:nvPr/>
            </p:nvSpPr>
            <p:spPr bwMode="gray">
              <a:xfrm>
                <a:off x="8972550" y="1728788"/>
                <a:ext cx="117475" cy="138113"/>
              </a:xfrm>
              <a:custGeom>
                <a:avLst/>
                <a:gdLst>
                  <a:gd name="T0" fmla="*/ 420 w 420"/>
                  <a:gd name="T1" fmla="*/ 492 h 503"/>
                  <a:gd name="T2" fmla="*/ 420 w 420"/>
                  <a:gd name="T3" fmla="*/ 492 h 503"/>
                  <a:gd name="T4" fmla="*/ 335 w 420"/>
                  <a:gd name="T5" fmla="*/ 492 h 503"/>
                  <a:gd name="T6" fmla="*/ 335 w 420"/>
                  <a:gd name="T7" fmla="*/ 414 h 503"/>
                  <a:gd name="T8" fmla="*/ 333 w 420"/>
                  <a:gd name="T9" fmla="*/ 414 h 503"/>
                  <a:gd name="T10" fmla="*/ 178 w 420"/>
                  <a:gd name="T11" fmla="*/ 503 h 503"/>
                  <a:gd name="T12" fmla="*/ 0 w 420"/>
                  <a:gd name="T13" fmla="*/ 292 h 503"/>
                  <a:gd name="T14" fmla="*/ 0 w 420"/>
                  <a:gd name="T15" fmla="*/ 0 h 503"/>
                  <a:gd name="T16" fmla="*/ 88 w 420"/>
                  <a:gd name="T17" fmla="*/ 0 h 503"/>
                  <a:gd name="T18" fmla="*/ 88 w 420"/>
                  <a:gd name="T19" fmla="*/ 255 h 503"/>
                  <a:gd name="T20" fmla="*/ 188 w 420"/>
                  <a:gd name="T21" fmla="*/ 430 h 503"/>
                  <a:gd name="T22" fmla="*/ 332 w 420"/>
                  <a:gd name="T23" fmla="*/ 228 h 503"/>
                  <a:gd name="T24" fmla="*/ 332 w 420"/>
                  <a:gd name="T25" fmla="*/ 0 h 503"/>
                  <a:gd name="T26" fmla="*/ 420 w 420"/>
                  <a:gd name="T27" fmla="*/ 0 h 503"/>
                  <a:gd name="T28" fmla="*/ 420 w 420"/>
                  <a:gd name="T29" fmla="*/ 49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03">
                    <a:moveTo>
                      <a:pt x="420" y="492"/>
                    </a:moveTo>
                    <a:lnTo>
                      <a:pt x="420" y="492"/>
                    </a:lnTo>
                    <a:lnTo>
                      <a:pt x="335" y="492"/>
                    </a:lnTo>
                    <a:lnTo>
                      <a:pt x="335" y="414"/>
                    </a:lnTo>
                    <a:lnTo>
                      <a:pt x="333" y="414"/>
                    </a:lnTo>
                    <a:cubicBezTo>
                      <a:pt x="307" y="469"/>
                      <a:pt x="244" y="503"/>
                      <a:pt x="178" y="503"/>
                    </a:cubicBezTo>
                    <a:cubicBezTo>
                      <a:pt x="55" y="503"/>
                      <a:pt x="0" y="424"/>
                      <a:pt x="0" y="292"/>
                    </a:cubicBezTo>
                    <a:lnTo>
                      <a:pt x="0" y="0"/>
                    </a:lnTo>
                    <a:lnTo>
                      <a:pt x="88" y="0"/>
                    </a:lnTo>
                    <a:lnTo>
                      <a:pt x="88" y="255"/>
                    </a:lnTo>
                    <a:cubicBezTo>
                      <a:pt x="88" y="369"/>
                      <a:pt x="112" y="425"/>
                      <a:pt x="188" y="430"/>
                    </a:cubicBezTo>
                    <a:cubicBezTo>
                      <a:pt x="288" y="430"/>
                      <a:pt x="332" y="347"/>
                      <a:pt x="332" y="228"/>
                    </a:cubicBezTo>
                    <a:lnTo>
                      <a:pt x="332" y="0"/>
                    </a:lnTo>
                    <a:lnTo>
                      <a:pt x="420" y="0"/>
                    </a:lnTo>
                    <a:lnTo>
                      <a:pt x="420" y="492"/>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7" name="Freeform 66"/>
              <p:cNvSpPr>
                <a:spLocks/>
              </p:cNvSpPr>
              <p:nvPr/>
            </p:nvSpPr>
            <p:spPr bwMode="gray">
              <a:xfrm>
                <a:off x="9137650" y="1725613"/>
                <a:ext cx="73025" cy="138113"/>
              </a:xfrm>
              <a:custGeom>
                <a:avLst/>
                <a:gdLst>
                  <a:gd name="T0" fmla="*/ 0 w 265"/>
                  <a:gd name="T1" fmla="*/ 11 h 503"/>
                  <a:gd name="T2" fmla="*/ 0 w 265"/>
                  <a:gd name="T3" fmla="*/ 11 h 503"/>
                  <a:gd name="T4" fmla="*/ 82 w 265"/>
                  <a:gd name="T5" fmla="*/ 11 h 503"/>
                  <a:gd name="T6" fmla="*/ 82 w 265"/>
                  <a:gd name="T7" fmla="*/ 87 h 503"/>
                  <a:gd name="T8" fmla="*/ 84 w 265"/>
                  <a:gd name="T9" fmla="*/ 87 h 503"/>
                  <a:gd name="T10" fmla="*/ 207 w 265"/>
                  <a:gd name="T11" fmla="*/ 0 h 503"/>
                  <a:gd name="T12" fmla="*/ 265 w 265"/>
                  <a:gd name="T13" fmla="*/ 7 h 503"/>
                  <a:gd name="T14" fmla="*/ 265 w 265"/>
                  <a:gd name="T15" fmla="*/ 87 h 503"/>
                  <a:gd name="T16" fmla="*/ 217 w 265"/>
                  <a:gd name="T17" fmla="*/ 79 h 503"/>
                  <a:gd name="T18" fmla="*/ 87 w 265"/>
                  <a:gd name="T19" fmla="*/ 279 h 503"/>
                  <a:gd name="T20" fmla="*/ 87 w 265"/>
                  <a:gd name="T21" fmla="*/ 503 h 503"/>
                  <a:gd name="T22" fmla="*/ 0 w 265"/>
                  <a:gd name="T23" fmla="*/ 503 h 503"/>
                  <a:gd name="T24" fmla="*/ 0 w 265"/>
                  <a:gd name="T25"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5" h="503">
                    <a:moveTo>
                      <a:pt x="0" y="11"/>
                    </a:moveTo>
                    <a:lnTo>
                      <a:pt x="0" y="11"/>
                    </a:lnTo>
                    <a:lnTo>
                      <a:pt x="82" y="11"/>
                    </a:lnTo>
                    <a:lnTo>
                      <a:pt x="82" y="87"/>
                    </a:lnTo>
                    <a:lnTo>
                      <a:pt x="84" y="87"/>
                    </a:lnTo>
                    <a:cubicBezTo>
                      <a:pt x="107" y="37"/>
                      <a:pt x="157" y="0"/>
                      <a:pt x="207" y="0"/>
                    </a:cubicBezTo>
                    <a:cubicBezTo>
                      <a:pt x="234" y="0"/>
                      <a:pt x="247" y="3"/>
                      <a:pt x="265" y="7"/>
                    </a:cubicBezTo>
                    <a:lnTo>
                      <a:pt x="265" y="87"/>
                    </a:lnTo>
                    <a:cubicBezTo>
                      <a:pt x="249" y="81"/>
                      <a:pt x="231" y="79"/>
                      <a:pt x="217" y="79"/>
                    </a:cubicBezTo>
                    <a:cubicBezTo>
                      <a:pt x="139" y="79"/>
                      <a:pt x="87" y="156"/>
                      <a:pt x="87" y="279"/>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8" name="Freeform 67"/>
              <p:cNvSpPr>
                <a:spLocks noEditPoints="1"/>
              </p:cNvSpPr>
              <p:nvPr/>
            </p:nvSpPr>
            <p:spPr bwMode="gray">
              <a:xfrm>
                <a:off x="9236075" y="1725613"/>
                <a:ext cx="111125" cy="141288"/>
              </a:xfrm>
              <a:custGeom>
                <a:avLst/>
                <a:gdLst>
                  <a:gd name="T0" fmla="*/ 314 w 405"/>
                  <a:gd name="T1" fmla="*/ 269 h 514"/>
                  <a:gd name="T2" fmla="*/ 314 w 405"/>
                  <a:gd name="T3" fmla="*/ 269 h 514"/>
                  <a:gd name="T4" fmla="*/ 258 w 405"/>
                  <a:gd name="T5" fmla="*/ 267 h 514"/>
                  <a:gd name="T6" fmla="*/ 94 w 405"/>
                  <a:gd name="T7" fmla="*/ 361 h 514"/>
                  <a:gd name="T8" fmla="*/ 182 w 405"/>
                  <a:gd name="T9" fmla="*/ 441 h 514"/>
                  <a:gd name="T10" fmla="*/ 314 w 405"/>
                  <a:gd name="T11" fmla="*/ 312 h 514"/>
                  <a:gd name="T12" fmla="*/ 314 w 405"/>
                  <a:gd name="T13" fmla="*/ 269 h 514"/>
                  <a:gd name="T14" fmla="*/ 314 w 405"/>
                  <a:gd name="T15" fmla="*/ 269 h 514"/>
                  <a:gd name="T16" fmla="*/ 54 w 405"/>
                  <a:gd name="T17" fmla="*/ 46 h 514"/>
                  <a:gd name="T18" fmla="*/ 54 w 405"/>
                  <a:gd name="T19" fmla="*/ 46 h 514"/>
                  <a:gd name="T20" fmla="*/ 211 w 405"/>
                  <a:gd name="T21" fmla="*/ 0 h 514"/>
                  <a:gd name="T22" fmla="*/ 401 w 405"/>
                  <a:gd name="T23" fmla="*/ 203 h 514"/>
                  <a:gd name="T24" fmla="*/ 401 w 405"/>
                  <a:gd name="T25" fmla="*/ 406 h 514"/>
                  <a:gd name="T26" fmla="*/ 405 w 405"/>
                  <a:gd name="T27" fmla="*/ 503 h 514"/>
                  <a:gd name="T28" fmla="*/ 323 w 405"/>
                  <a:gd name="T29" fmla="*/ 503 h 514"/>
                  <a:gd name="T30" fmla="*/ 323 w 405"/>
                  <a:gd name="T31" fmla="*/ 439 h 514"/>
                  <a:gd name="T32" fmla="*/ 321 w 405"/>
                  <a:gd name="T33" fmla="*/ 439 h 514"/>
                  <a:gd name="T34" fmla="*/ 174 w 405"/>
                  <a:gd name="T35" fmla="*/ 514 h 514"/>
                  <a:gd name="T36" fmla="*/ 0 w 405"/>
                  <a:gd name="T37" fmla="*/ 361 h 514"/>
                  <a:gd name="T38" fmla="*/ 221 w 405"/>
                  <a:gd name="T39" fmla="*/ 199 h 514"/>
                  <a:gd name="T40" fmla="*/ 314 w 405"/>
                  <a:gd name="T41" fmla="*/ 201 h 514"/>
                  <a:gd name="T42" fmla="*/ 197 w 405"/>
                  <a:gd name="T43" fmla="*/ 73 h 514"/>
                  <a:gd name="T44" fmla="*/ 59 w 405"/>
                  <a:gd name="T45" fmla="*/ 123 h 514"/>
                  <a:gd name="T46" fmla="*/ 54 w 405"/>
                  <a:gd name="T47" fmla="*/ 4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5" h="514">
                    <a:moveTo>
                      <a:pt x="314" y="269"/>
                    </a:moveTo>
                    <a:lnTo>
                      <a:pt x="314" y="269"/>
                    </a:lnTo>
                    <a:cubicBezTo>
                      <a:pt x="295" y="269"/>
                      <a:pt x="277" y="267"/>
                      <a:pt x="258" y="267"/>
                    </a:cubicBezTo>
                    <a:cubicBezTo>
                      <a:pt x="211" y="267"/>
                      <a:pt x="94" y="275"/>
                      <a:pt x="94" y="361"/>
                    </a:cubicBezTo>
                    <a:cubicBezTo>
                      <a:pt x="94" y="413"/>
                      <a:pt x="142" y="441"/>
                      <a:pt x="182" y="441"/>
                    </a:cubicBezTo>
                    <a:cubicBezTo>
                      <a:pt x="268" y="441"/>
                      <a:pt x="314" y="385"/>
                      <a:pt x="314" y="312"/>
                    </a:cubicBezTo>
                    <a:lnTo>
                      <a:pt x="314" y="269"/>
                    </a:lnTo>
                    <a:lnTo>
                      <a:pt x="314" y="269"/>
                    </a:lnTo>
                    <a:close/>
                    <a:moveTo>
                      <a:pt x="54" y="46"/>
                    </a:moveTo>
                    <a:lnTo>
                      <a:pt x="54" y="46"/>
                    </a:lnTo>
                    <a:cubicBezTo>
                      <a:pt x="98" y="19"/>
                      <a:pt x="150" y="0"/>
                      <a:pt x="211" y="0"/>
                    </a:cubicBezTo>
                    <a:cubicBezTo>
                      <a:pt x="346" y="0"/>
                      <a:pt x="401" y="69"/>
                      <a:pt x="401" y="203"/>
                    </a:cubicBezTo>
                    <a:lnTo>
                      <a:pt x="401" y="406"/>
                    </a:lnTo>
                    <a:cubicBezTo>
                      <a:pt x="401" y="462"/>
                      <a:pt x="403" y="488"/>
                      <a:pt x="405" y="503"/>
                    </a:cubicBezTo>
                    <a:lnTo>
                      <a:pt x="323" y="503"/>
                    </a:lnTo>
                    <a:lnTo>
                      <a:pt x="323" y="439"/>
                    </a:lnTo>
                    <a:lnTo>
                      <a:pt x="321" y="439"/>
                    </a:lnTo>
                    <a:cubicBezTo>
                      <a:pt x="301" y="469"/>
                      <a:pt x="255" y="514"/>
                      <a:pt x="174" y="514"/>
                    </a:cubicBezTo>
                    <a:cubicBezTo>
                      <a:pt x="72" y="514"/>
                      <a:pt x="0" y="468"/>
                      <a:pt x="0" y="361"/>
                    </a:cubicBezTo>
                    <a:cubicBezTo>
                      <a:pt x="0" y="238"/>
                      <a:pt x="131" y="199"/>
                      <a:pt x="221" y="199"/>
                    </a:cubicBezTo>
                    <a:cubicBezTo>
                      <a:pt x="255" y="199"/>
                      <a:pt x="280" y="199"/>
                      <a:pt x="314" y="201"/>
                    </a:cubicBezTo>
                    <a:cubicBezTo>
                      <a:pt x="314" y="116"/>
                      <a:pt x="284" y="73"/>
                      <a:pt x="197" y="73"/>
                    </a:cubicBezTo>
                    <a:cubicBezTo>
                      <a:pt x="147" y="73"/>
                      <a:pt x="94" y="92"/>
                      <a:pt x="59" y="123"/>
                    </a:cubicBezTo>
                    <a:lnTo>
                      <a:pt x="54" y="4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9" name="Freeform 68"/>
              <p:cNvSpPr>
                <a:spLocks/>
              </p:cNvSpPr>
              <p:nvPr/>
            </p:nvSpPr>
            <p:spPr bwMode="gray">
              <a:xfrm>
                <a:off x="9394825" y="1725613"/>
                <a:ext cx="115888" cy="138113"/>
              </a:xfrm>
              <a:custGeom>
                <a:avLst/>
                <a:gdLst>
                  <a:gd name="T0" fmla="*/ 0 w 419"/>
                  <a:gd name="T1" fmla="*/ 11 h 503"/>
                  <a:gd name="T2" fmla="*/ 0 w 419"/>
                  <a:gd name="T3" fmla="*/ 11 h 503"/>
                  <a:gd name="T4" fmla="*/ 84 w 419"/>
                  <a:gd name="T5" fmla="*/ 11 h 503"/>
                  <a:gd name="T6" fmla="*/ 84 w 419"/>
                  <a:gd name="T7" fmla="*/ 89 h 503"/>
                  <a:gd name="T8" fmla="*/ 86 w 419"/>
                  <a:gd name="T9" fmla="*/ 89 h 503"/>
                  <a:gd name="T10" fmla="*/ 242 w 419"/>
                  <a:gd name="T11" fmla="*/ 0 h 503"/>
                  <a:gd name="T12" fmla="*/ 419 w 419"/>
                  <a:gd name="T13" fmla="*/ 211 h 503"/>
                  <a:gd name="T14" fmla="*/ 419 w 419"/>
                  <a:gd name="T15" fmla="*/ 503 h 503"/>
                  <a:gd name="T16" fmla="*/ 332 w 419"/>
                  <a:gd name="T17" fmla="*/ 503 h 503"/>
                  <a:gd name="T18" fmla="*/ 332 w 419"/>
                  <a:gd name="T19" fmla="*/ 249 h 503"/>
                  <a:gd name="T20" fmla="*/ 231 w 419"/>
                  <a:gd name="T21" fmla="*/ 73 h 503"/>
                  <a:gd name="T22" fmla="*/ 87 w 419"/>
                  <a:gd name="T23" fmla="*/ 275 h 503"/>
                  <a:gd name="T24" fmla="*/ 87 w 419"/>
                  <a:gd name="T25" fmla="*/ 503 h 503"/>
                  <a:gd name="T26" fmla="*/ 0 w 419"/>
                  <a:gd name="T27" fmla="*/ 503 h 503"/>
                  <a:gd name="T28" fmla="*/ 0 w 419"/>
                  <a:gd name="T29"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9" h="503">
                    <a:moveTo>
                      <a:pt x="0" y="11"/>
                    </a:moveTo>
                    <a:lnTo>
                      <a:pt x="0" y="11"/>
                    </a:lnTo>
                    <a:lnTo>
                      <a:pt x="84" y="11"/>
                    </a:lnTo>
                    <a:lnTo>
                      <a:pt x="84" y="89"/>
                    </a:lnTo>
                    <a:lnTo>
                      <a:pt x="86" y="89"/>
                    </a:lnTo>
                    <a:cubicBezTo>
                      <a:pt x="112" y="34"/>
                      <a:pt x="175" y="0"/>
                      <a:pt x="242" y="0"/>
                    </a:cubicBezTo>
                    <a:cubicBezTo>
                      <a:pt x="364" y="0"/>
                      <a:pt x="419" y="79"/>
                      <a:pt x="419" y="211"/>
                    </a:cubicBezTo>
                    <a:lnTo>
                      <a:pt x="419" y="503"/>
                    </a:lnTo>
                    <a:lnTo>
                      <a:pt x="332" y="503"/>
                    </a:lnTo>
                    <a:lnTo>
                      <a:pt x="332" y="249"/>
                    </a:lnTo>
                    <a:cubicBezTo>
                      <a:pt x="332" y="134"/>
                      <a:pt x="307" y="78"/>
                      <a:pt x="231" y="73"/>
                    </a:cubicBezTo>
                    <a:cubicBezTo>
                      <a:pt x="132" y="73"/>
                      <a:pt x="87" y="156"/>
                      <a:pt x="87" y="27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0" name="Freeform 69"/>
              <p:cNvSpPr>
                <a:spLocks/>
              </p:cNvSpPr>
              <p:nvPr/>
            </p:nvSpPr>
            <p:spPr bwMode="gray">
              <a:xfrm>
                <a:off x="9547225" y="1725613"/>
                <a:ext cx="98425" cy="141288"/>
              </a:xfrm>
              <a:custGeom>
                <a:avLst/>
                <a:gdLst>
                  <a:gd name="T0" fmla="*/ 340 w 352"/>
                  <a:gd name="T1" fmla="*/ 94 h 514"/>
                  <a:gd name="T2" fmla="*/ 340 w 352"/>
                  <a:gd name="T3" fmla="*/ 94 h 514"/>
                  <a:gd name="T4" fmla="*/ 246 w 352"/>
                  <a:gd name="T5" fmla="*/ 73 h 514"/>
                  <a:gd name="T6" fmla="*/ 93 w 352"/>
                  <a:gd name="T7" fmla="*/ 257 h 514"/>
                  <a:gd name="T8" fmla="*/ 251 w 352"/>
                  <a:gd name="T9" fmla="*/ 441 h 514"/>
                  <a:gd name="T10" fmla="*/ 345 w 352"/>
                  <a:gd name="T11" fmla="*/ 413 h 514"/>
                  <a:gd name="T12" fmla="*/ 352 w 352"/>
                  <a:gd name="T13" fmla="*/ 494 h 514"/>
                  <a:gd name="T14" fmla="*/ 242 w 352"/>
                  <a:gd name="T15" fmla="*/ 514 h 514"/>
                  <a:gd name="T16" fmla="*/ 0 w 352"/>
                  <a:gd name="T17" fmla="*/ 257 h 514"/>
                  <a:gd name="T18" fmla="*/ 242 w 352"/>
                  <a:gd name="T19" fmla="*/ 0 h 514"/>
                  <a:gd name="T20" fmla="*/ 348 w 352"/>
                  <a:gd name="T21" fmla="*/ 19 h 514"/>
                  <a:gd name="T22" fmla="*/ 340 w 352"/>
                  <a:gd name="T23" fmla="*/ 94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2" h="514">
                    <a:moveTo>
                      <a:pt x="340" y="94"/>
                    </a:moveTo>
                    <a:lnTo>
                      <a:pt x="340" y="94"/>
                    </a:lnTo>
                    <a:cubicBezTo>
                      <a:pt x="307" y="80"/>
                      <a:pt x="274" y="73"/>
                      <a:pt x="246" y="73"/>
                    </a:cubicBezTo>
                    <a:cubicBezTo>
                      <a:pt x="148" y="73"/>
                      <a:pt x="93" y="164"/>
                      <a:pt x="93" y="257"/>
                    </a:cubicBezTo>
                    <a:cubicBezTo>
                      <a:pt x="93" y="345"/>
                      <a:pt x="139" y="441"/>
                      <a:pt x="251" y="441"/>
                    </a:cubicBezTo>
                    <a:cubicBezTo>
                      <a:pt x="281" y="441"/>
                      <a:pt x="318" y="431"/>
                      <a:pt x="345" y="413"/>
                    </a:cubicBezTo>
                    <a:lnTo>
                      <a:pt x="352" y="494"/>
                    </a:lnTo>
                    <a:cubicBezTo>
                      <a:pt x="315" y="511"/>
                      <a:pt x="274" y="514"/>
                      <a:pt x="242" y="514"/>
                    </a:cubicBezTo>
                    <a:cubicBezTo>
                      <a:pt x="99" y="514"/>
                      <a:pt x="0" y="397"/>
                      <a:pt x="0" y="257"/>
                    </a:cubicBezTo>
                    <a:cubicBezTo>
                      <a:pt x="0" y="108"/>
                      <a:pt x="97" y="0"/>
                      <a:pt x="242" y="0"/>
                    </a:cubicBezTo>
                    <a:cubicBezTo>
                      <a:pt x="277" y="0"/>
                      <a:pt x="323" y="8"/>
                      <a:pt x="348" y="19"/>
                    </a:cubicBezTo>
                    <a:lnTo>
                      <a:pt x="340" y="94"/>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1" name="Freeform 70"/>
              <p:cNvSpPr>
                <a:spLocks noEditPoints="1"/>
              </p:cNvSpPr>
              <p:nvPr/>
            </p:nvSpPr>
            <p:spPr bwMode="gray">
              <a:xfrm>
                <a:off x="9671050" y="1725613"/>
                <a:ext cx="119063" cy="141288"/>
              </a:xfrm>
              <a:custGeom>
                <a:avLst/>
                <a:gdLst>
                  <a:gd name="T0" fmla="*/ 338 w 431"/>
                  <a:gd name="T1" fmla="*/ 210 h 514"/>
                  <a:gd name="T2" fmla="*/ 338 w 431"/>
                  <a:gd name="T3" fmla="*/ 210 h 514"/>
                  <a:gd name="T4" fmla="*/ 220 w 431"/>
                  <a:gd name="T5" fmla="*/ 73 h 514"/>
                  <a:gd name="T6" fmla="*/ 93 w 431"/>
                  <a:gd name="T7" fmla="*/ 210 h 514"/>
                  <a:gd name="T8" fmla="*/ 338 w 431"/>
                  <a:gd name="T9" fmla="*/ 210 h 514"/>
                  <a:gd name="T10" fmla="*/ 338 w 431"/>
                  <a:gd name="T11" fmla="*/ 210 h 514"/>
                  <a:gd name="T12" fmla="*/ 395 w 431"/>
                  <a:gd name="T13" fmla="*/ 482 h 514"/>
                  <a:gd name="T14" fmla="*/ 395 w 431"/>
                  <a:gd name="T15" fmla="*/ 482 h 514"/>
                  <a:gd name="T16" fmla="*/ 245 w 431"/>
                  <a:gd name="T17" fmla="*/ 514 h 514"/>
                  <a:gd name="T18" fmla="*/ 0 w 431"/>
                  <a:gd name="T19" fmla="*/ 249 h 514"/>
                  <a:gd name="T20" fmla="*/ 222 w 431"/>
                  <a:gd name="T21" fmla="*/ 0 h 514"/>
                  <a:gd name="T22" fmla="*/ 431 w 431"/>
                  <a:gd name="T23" fmla="*/ 277 h 514"/>
                  <a:gd name="T24" fmla="*/ 93 w 431"/>
                  <a:gd name="T25" fmla="*/ 277 h 514"/>
                  <a:gd name="T26" fmla="*/ 249 w 431"/>
                  <a:gd name="T27" fmla="*/ 441 h 514"/>
                  <a:gd name="T28" fmla="*/ 395 w 431"/>
                  <a:gd name="T29" fmla="*/ 392 h 514"/>
                  <a:gd name="T30" fmla="*/ 395 w 431"/>
                  <a:gd name="T31" fmla="*/ 482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31" h="514">
                    <a:moveTo>
                      <a:pt x="338" y="210"/>
                    </a:moveTo>
                    <a:lnTo>
                      <a:pt x="338" y="210"/>
                    </a:lnTo>
                    <a:cubicBezTo>
                      <a:pt x="338" y="135"/>
                      <a:pt x="296" y="73"/>
                      <a:pt x="220" y="73"/>
                    </a:cubicBezTo>
                    <a:cubicBezTo>
                      <a:pt x="135" y="73"/>
                      <a:pt x="99" y="146"/>
                      <a:pt x="93" y="210"/>
                    </a:cubicBezTo>
                    <a:lnTo>
                      <a:pt x="338" y="210"/>
                    </a:lnTo>
                    <a:lnTo>
                      <a:pt x="338" y="210"/>
                    </a:lnTo>
                    <a:close/>
                    <a:moveTo>
                      <a:pt x="395" y="482"/>
                    </a:moveTo>
                    <a:lnTo>
                      <a:pt x="395" y="482"/>
                    </a:lnTo>
                    <a:cubicBezTo>
                      <a:pt x="362" y="495"/>
                      <a:pt x="324" y="514"/>
                      <a:pt x="245" y="514"/>
                    </a:cubicBezTo>
                    <a:cubicBezTo>
                      <a:pt x="77" y="514"/>
                      <a:pt x="0" y="408"/>
                      <a:pt x="0" y="249"/>
                    </a:cubicBezTo>
                    <a:cubicBezTo>
                      <a:pt x="0" y="103"/>
                      <a:pt x="88" y="0"/>
                      <a:pt x="222" y="0"/>
                    </a:cubicBezTo>
                    <a:cubicBezTo>
                      <a:pt x="380" y="0"/>
                      <a:pt x="431" y="119"/>
                      <a:pt x="431" y="277"/>
                    </a:cubicBezTo>
                    <a:lnTo>
                      <a:pt x="93" y="277"/>
                    </a:lnTo>
                    <a:cubicBezTo>
                      <a:pt x="93" y="375"/>
                      <a:pt x="166" y="441"/>
                      <a:pt x="249" y="441"/>
                    </a:cubicBezTo>
                    <a:cubicBezTo>
                      <a:pt x="307" y="441"/>
                      <a:pt x="374" y="410"/>
                      <a:pt x="395" y="392"/>
                    </a:cubicBezTo>
                    <a:lnTo>
                      <a:pt x="395" y="482"/>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2" name="Freeform 71"/>
              <p:cNvSpPr>
                <a:spLocks/>
              </p:cNvSpPr>
              <p:nvPr/>
            </p:nvSpPr>
            <p:spPr bwMode="gray">
              <a:xfrm>
                <a:off x="9242425" y="1031876"/>
                <a:ext cx="287338" cy="479425"/>
              </a:xfrm>
              <a:custGeom>
                <a:avLst/>
                <a:gdLst>
                  <a:gd name="T0" fmla="*/ 712 w 1035"/>
                  <a:gd name="T1" fmla="*/ 0 h 1730"/>
                  <a:gd name="T2" fmla="*/ 712 w 1035"/>
                  <a:gd name="T3" fmla="*/ 0 h 1730"/>
                  <a:gd name="T4" fmla="*/ 1035 w 1035"/>
                  <a:gd name="T5" fmla="*/ 0 h 1730"/>
                  <a:gd name="T6" fmla="*/ 310 w 1035"/>
                  <a:gd name="T7" fmla="*/ 1730 h 1730"/>
                  <a:gd name="T8" fmla="*/ 0 w 1035"/>
                  <a:gd name="T9" fmla="*/ 1730 h 1730"/>
                  <a:gd name="T10" fmla="*/ 712 w 1035"/>
                  <a:gd name="T11" fmla="*/ 0 h 1730"/>
                </a:gdLst>
                <a:ahLst/>
                <a:cxnLst>
                  <a:cxn ang="0">
                    <a:pos x="T0" y="T1"/>
                  </a:cxn>
                  <a:cxn ang="0">
                    <a:pos x="T2" y="T3"/>
                  </a:cxn>
                  <a:cxn ang="0">
                    <a:pos x="T4" y="T5"/>
                  </a:cxn>
                  <a:cxn ang="0">
                    <a:pos x="T6" y="T7"/>
                  </a:cxn>
                  <a:cxn ang="0">
                    <a:pos x="T8" y="T9"/>
                  </a:cxn>
                  <a:cxn ang="0">
                    <a:pos x="T10" y="T11"/>
                  </a:cxn>
                </a:cxnLst>
                <a:rect l="0" t="0" r="r" b="b"/>
                <a:pathLst>
                  <a:path w="1035" h="1730">
                    <a:moveTo>
                      <a:pt x="712" y="0"/>
                    </a:moveTo>
                    <a:lnTo>
                      <a:pt x="712" y="0"/>
                    </a:lnTo>
                    <a:lnTo>
                      <a:pt x="1035" y="0"/>
                    </a:lnTo>
                    <a:lnTo>
                      <a:pt x="310" y="1730"/>
                    </a:lnTo>
                    <a:lnTo>
                      <a:pt x="0" y="1730"/>
                    </a:lnTo>
                    <a:lnTo>
                      <a:pt x="712" y="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3" name="Freeform 72"/>
              <p:cNvSpPr>
                <a:spLocks/>
              </p:cNvSpPr>
              <p:nvPr/>
            </p:nvSpPr>
            <p:spPr bwMode="gray">
              <a:xfrm>
                <a:off x="8255000" y="1031876"/>
                <a:ext cx="592138" cy="479425"/>
              </a:xfrm>
              <a:custGeom>
                <a:avLst/>
                <a:gdLst>
                  <a:gd name="T0" fmla="*/ 1400 w 2131"/>
                  <a:gd name="T1" fmla="*/ 1730 h 1730"/>
                  <a:gd name="T2" fmla="*/ 1400 w 2131"/>
                  <a:gd name="T3" fmla="*/ 1730 h 1730"/>
                  <a:gd name="T4" fmla="*/ 0 w 2131"/>
                  <a:gd name="T5" fmla="*/ 1730 h 1730"/>
                  <a:gd name="T6" fmla="*/ 732 w 2131"/>
                  <a:gd name="T7" fmla="*/ 0 h 1730"/>
                  <a:gd name="T8" fmla="*/ 2131 w 2131"/>
                  <a:gd name="T9" fmla="*/ 0 h 1730"/>
                  <a:gd name="T10" fmla="*/ 2063 w 2131"/>
                  <a:gd name="T11" fmla="*/ 183 h 1730"/>
                  <a:gd name="T12" fmla="*/ 981 w 2131"/>
                  <a:gd name="T13" fmla="*/ 183 h 1730"/>
                  <a:gd name="T14" fmla="*/ 765 w 2131"/>
                  <a:gd name="T15" fmla="*/ 676 h 1730"/>
                  <a:gd name="T16" fmla="*/ 1848 w 2131"/>
                  <a:gd name="T17" fmla="*/ 676 h 1730"/>
                  <a:gd name="T18" fmla="*/ 1763 w 2131"/>
                  <a:gd name="T19" fmla="*/ 877 h 1730"/>
                  <a:gd name="T20" fmla="*/ 681 w 2131"/>
                  <a:gd name="T21" fmla="*/ 877 h 1730"/>
                  <a:gd name="T22" fmla="*/ 403 w 2131"/>
                  <a:gd name="T23" fmla="*/ 1529 h 1730"/>
                  <a:gd name="T24" fmla="*/ 1485 w 2131"/>
                  <a:gd name="T25" fmla="*/ 1540 h 1730"/>
                  <a:gd name="T26" fmla="*/ 1400 w 2131"/>
                  <a:gd name="T27" fmla="*/ 1730 h 1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31" h="1730">
                    <a:moveTo>
                      <a:pt x="1400" y="1730"/>
                    </a:moveTo>
                    <a:lnTo>
                      <a:pt x="1400" y="1730"/>
                    </a:lnTo>
                    <a:lnTo>
                      <a:pt x="0" y="1730"/>
                    </a:lnTo>
                    <a:lnTo>
                      <a:pt x="732" y="0"/>
                    </a:lnTo>
                    <a:lnTo>
                      <a:pt x="2131" y="0"/>
                    </a:lnTo>
                    <a:lnTo>
                      <a:pt x="2063" y="183"/>
                    </a:lnTo>
                    <a:lnTo>
                      <a:pt x="981" y="183"/>
                    </a:lnTo>
                    <a:lnTo>
                      <a:pt x="765" y="676"/>
                    </a:lnTo>
                    <a:lnTo>
                      <a:pt x="1848" y="676"/>
                    </a:lnTo>
                    <a:lnTo>
                      <a:pt x="1763" y="877"/>
                    </a:lnTo>
                    <a:lnTo>
                      <a:pt x="681" y="877"/>
                    </a:lnTo>
                    <a:lnTo>
                      <a:pt x="403" y="1529"/>
                    </a:lnTo>
                    <a:lnTo>
                      <a:pt x="1485" y="1540"/>
                    </a:lnTo>
                    <a:lnTo>
                      <a:pt x="1400" y="173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4" name="Freeform 28"/>
              <p:cNvSpPr>
                <a:spLocks/>
              </p:cNvSpPr>
              <p:nvPr/>
            </p:nvSpPr>
            <p:spPr bwMode="gray">
              <a:xfrm>
                <a:off x="9478963" y="995363"/>
                <a:ext cx="725488" cy="539750"/>
              </a:xfrm>
              <a:custGeom>
                <a:avLst/>
                <a:gdLst>
                  <a:gd name="T0" fmla="*/ 2503 w 2617"/>
                  <a:gd name="T1" fmla="*/ 528 h 1947"/>
                  <a:gd name="T2" fmla="*/ 2503 w 2617"/>
                  <a:gd name="T3" fmla="*/ 528 h 1947"/>
                  <a:gd name="T4" fmla="*/ 2617 w 2617"/>
                  <a:gd name="T5" fmla="*/ 281 h 1947"/>
                  <a:gd name="T6" fmla="*/ 1439 w 2617"/>
                  <a:gd name="T7" fmla="*/ 115 h 1947"/>
                  <a:gd name="T8" fmla="*/ 223 w 2617"/>
                  <a:gd name="T9" fmla="*/ 751 h 1947"/>
                  <a:gd name="T10" fmla="*/ 12 w 2617"/>
                  <a:gd name="T11" fmla="*/ 1231 h 1947"/>
                  <a:gd name="T12" fmla="*/ 699 w 2617"/>
                  <a:gd name="T13" fmla="*/ 1886 h 1947"/>
                  <a:gd name="T14" fmla="*/ 2011 w 2617"/>
                  <a:gd name="T15" fmla="*/ 1730 h 1947"/>
                  <a:gd name="T16" fmla="*/ 2119 w 2617"/>
                  <a:gd name="T17" fmla="*/ 1454 h 1947"/>
                  <a:gd name="T18" fmla="*/ 889 w 2617"/>
                  <a:gd name="T19" fmla="*/ 1695 h 1947"/>
                  <a:gd name="T20" fmla="*/ 371 w 2617"/>
                  <a:gd name="T21" fmla="*/ 1031 h 1947"/>
                  <a:gd name="T22" fmla="*/ 1522 w 2617"/>
                  <a:gd name="T23" fmla="*/ 305 h 1947"/>
                  <a:gd name="T24" fmla="*/ 2503 w 2617"/>
                  <a:gd name="T25" fmla="*/ 528 h 19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17" h="1947">
                    <a:moveTo>
                      <a:pt x="2503" y="528"/>
                    </a:moveTo>
                    <a:lnTo>
                      <a:pt x="2503" y="528"/>
                    </a:lnTo>
                    <a:lnTo>
                      <a:pt x="2617" y="281"/>
                    </a:lnTo>
                    <a:cubicBezTo>
                      <a:pt x="2617" y="281"/>
                      <a:pt x="2300" y="0"/>
                      <a:pt x="1439" y="115"/>
                    </a:cubicBezTo>
                    <a:cubicBezTo>
                      <a:pt x="985" y="175"/>
                      <a:pt x="516" y="385"/>
                      <a:pt x="223" y="751"/>
                    </a:cubicBezTo>
                    <a:cubicBezTo>
                      <a:pt x="90" y="916"/>
                      <a:pt x="19" y="1088"/>
                      <a:pt x="12" y="1231"/>
                    </a:cubicBezTo>
                    <a:cubicBezTo>
                      <a:pt x="0" y="1466"/>
                      <a:pt x="188" y="1789"/>
                      <a:pt x="699" y="1886"/>
                    </a:cubicBezTo>
                    <a:cubicBezTo>
                      <a:pt x="1016" y="1947"/>
                      <a:pt x="1451" y="1920"/>
                      <a:pt x="2011" y="1730"/>
                    </a:cubicBezTo>
                    <a:lnTo>
                      <a:pt x="2119" y="1454"/>
                    </a:lnTo>
                    <a:cubicBezTo>
                      <a:pt x="2119" y="1454"/>
                      <a:pt x="1581" y="1804"/>
                      <a:pt x="889" y="1695"/>
                    </a:cubicBezTo>
                    <a:cubicBezTo>
                      <a:pt x="447" y="1625"/>
                      <a:pt x="262" y="1334"/>
                      <a:pt x="371" y="1031"/>
                    </a:cubicBezTo>
                    <a:cubicBezTo>
                      <a:pt x="523" y="608"/>
                      <a:pt x="1117" y="359"/>
                      <a:pt x="1522" y="305"/>
                    </a:cubicBezTo>
                    <a:cubicBezTo>
                      <a:pt x="1964" y="246"/>
                      <a:pt x="2345" y="334"/>
                      <a:pt x="2503" y="528"/>
                    </a:cubicBez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5" name="Freeform 29"/>
              <p:cNvSpPr>
                <a:spLocks/>
              </p:cNvSpPr>
              <p:nvPr/>
            </p:nvSpPr>
            <p:spPr bwMode="gray">
              <a:xfrm>
                <a:off x="7877175" y="746126"/>
                <a:ext cx="403225" cy="550863"/>
              </a:xfrm>
              <a:custGeom>
                <a:avLst/>
                <a:gdLst>
                  <a:gd name="T0" fmla="*/ 0 w 1450"/>
                  <a:gd name="T1" fmla="*/ 0 h 1987"/>
                  <a:gd name="T2" fmla="*/ 0 w 1450"/>
                  <a:gd name="T3" fmla="*/ 0 h 1987"/>
                  <a:gd name="T4" fmla="*/ 453 w 1450"/>
                  <a:gd name="T5" fmla="*/ 1987 h 1987"/>
                  <a:gd name="T6" fmla="*/ 1450 w 1450"/>
                  <a:gd name="T7" fmla="*/ 1042 h 1987"/>
                  <a:gd name="T8" fmla="*/ 0 w 1450"/>
                  <a:gd name="T9" fmla="*/ 0 h 1987"/>
                </a:gdLst>
                <a:ahLst/>
                <a:cxnLst>
                  <a:cxn ang="0">
                    <a:pos x="T0" y="T1"/>
                  </a:cxn>
                  <a:cxn ang="0">
                    <a:pos x="T2" y="T3"/>
                  </a:cxn>
                  <a:cxn ang="0">
                    <a:pos x="T4" y="T5"/>
                  </a:cxn>
                  <a:cxn ang="0">
                    <a:pos x="T6" y="T7"/>
                  </a:cxn>
                  <a:cxn ang="0">
                    <a:pos x="T8" y="T9"/>
                  </a:cxn>
                </a:cxnLst>
                <a:rect l="0" t="0" r="r" b="b"/>
                <a:pathLst>
                  <a:path w="1450" h="1987">
                    <a:moveTo>
                      <a:pt x="0" y="0"/>
                    </a:moveTo>
                    <a:lnTo>
                      <a:pt x="0" y="0"/>
                    </a:lnTo>
                    <a:lnTo>
                      <a:pt x="453" y="1987"/>
                    </a:lnTo>
                    <a:lnTo>
                      <a:pt x="1450" y="1042"/>
                    </a:lnTo>
                    <a:lnTo>
                      <a:pt x="0" y="0"/>
                    </a:lnTo>
                    <a:close/>
                  </a:path>
                </a:pathLst>
              </a:custGeom>
              <a:solidFill>
                <a:srgbClr val="D0247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6" name="Freeform 30"/>
              <p:cNvSpPr>
                <a:spLocks/>
              </p:cNvSpPr>
              <p:nvPr/>
            </p:nvSpPr>
            <p:spPr bwMode="gray">
              <a:xfrm>
                <a:off x="7699375" y="515938"/>
                <a:ext cx="731838" cy="490538"/>
              </a:xfrm>
              <a:custGeom>
                <a:avLst/>
                <a:gdLst>
                  <a:gd name="T0" fmla="*/ 400 w 2634"/>
                  <a:gd name="T1" fmla="*/ 1771 h 1771"/>
                  <a:gd name="T2" fmla="*/ 400 w 2634"/>
                  <a:gd name="T3" fmla="*/ 1771 h 1771"/>
                  <a:gd name="T4" fmla="*/ 673 w 2634"/>
                  <a:gd name="T5" fmla="*/ 1771 h 1771"/>
                  <a:gd name="T6" fmla="*/ 391 w 2634"/>
                  <a:gd name="T7" fmla="*/ 458 h 1771"/>
                  <a:gd name="T8" fmla="*/ 2278 w 2634"/>
                  <a:gd name="T9" fmla="*/ 1769 h 1771"/>
                  <a:gd name="T10" fmla="*/ 2634 w 2634"/>
                  <a:gd name="T11" fmla="*/ 1769 h 1771"/>
                  <a:gd name="T12" fmla="*/ 0 w 2634"/>
                  <a:gd name="T13" fmla="*/ 0 h 1771"/>
                  <a:gd name="T14" fmla="*/ 400 w 2634"/>
                  <a:gd name="T15" fmla="*/ 1771 h 17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34" h="1771">
                    <a:moveTo>
                      <a:pt x="400" y="1771"/>
                    </a:moveTo>
                    <a:lnTo>
                      <a:pt x="400" y="1771"/>
                    </a:lnTo>
                    <a:lnTo>
                      <a:pt x="673" y="1771"/>
                    </a:lnTo>
                    <a:lnTo>
                      <a:pt x="391" y="458"/>
                    </a:lnTo>
                    <a:lnTo>
                      <a:pt x="2278" y="1769"/>
                    </a:lnTo>
                    <a:lnTo>
                      <a:pt x="2634" y="1769"/>
                    </a:lnTo>
                    <a:lnTo>
                      <a:pt x="0" y="0"/>
                    </a:lnTo>
                    <a:lnTo>
                      <a:pt x="400" y="1771"/>
                    </a:lnTo>
                    <a:close/>
                  </a:path>
                </a:pathLst>
              </a:custGeom>
              <a:solidFill>
                <a:srgbClr val="6C99D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7" name="Freeform 31"/>
              <p:cNvSpPr>
                <a:spLocks/>
              </p:cNvSpPr>
              <p:nvPr/>
            </p:nvSpPr>
            <p:spPr bwMode="gray">
              <a:xfrm>
                <a:off x="7821613" y="1039813"/>
                <a:ext cx="598488" cy="473075"/>
              </a:xfrm>
              <a:custGeom>
                <a:avLst/>
                <a:gdLst>
                  <a:gd name="T0" fmla="*/ 0 w 2158"/>
                  <a:gd name="T1" fmla="*/ 0 h 1706"/>
                  <a:gd name="T2" fmla="*/ 0 w 2158"/>
                  <a:gd name="T3" fmla="*/ 0 h 1706"/>
                  <a:gd name="T4" fmla="*/ 260 w 2158"/>
                  <a:gd name="T5" fmla="*/ 0 h 1706"/>
                  <a:gd name="T6" fmla="*/ 549 w 2158"/>
                  <a:gd name="T7" fmla="*/ 1289 h 1706"/>
                  <a:gd name="T8" fmla="*/ 1824 w 2158"/>
                  <a:gd name="T9" fmla="*/ 0 h 1706"/>
                  <a:gd name="T10" fmla="*/ 2158 w 2158"/>
                  <a:gd name="T11" fmla="*/ 0 h 1706"/>
                  <a:gd name="T12" fmla="*/ 390 w 2158"/>
                  <a:gd name="T13" fmla="*/ 1706 h 1706"/>
                  <a:gd name="T14" fmla="*/ 0 w 2158"/>
                  <a:gd name="T15" fmla="*/ 0 h 17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8" h="1706">
                    <a:moveTo>
                      <a:pt x="0" y="0"/>
                    </a:moveTo>
                    <a:lnTo>
                      <a:pt x="0" y="0"/>
                    </a:lnTo>
                    <a:lnTo>
                      <a:pt x="260" y="0"/>
                    </a:lnTo>
                    <a:lnTo>
                      <a:pt x="549" y="1289"/>
                    </a:lnTo>
                    <a:lnTo>
                      <a:pt x="1824" y="0"/>
                    </a:lnTo>
                    <a:lnTo>
                      <a:pt x="2158" y="0"/>
                    </a:lnTo>
                    <a:lnTo>
                      <a:pt x="390" y="1706"/>
                    </a:lnTo>
                    <a:lnTo>
                      <a:pt x="0" y="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8" name="Freeform 32"/>
              <p:cNvSpPr>
                <a:spLocks noEditPoints="1"/>
              </p:cNvSpPr>
              <p:nvPr/>
            </p:nvSpPr>
            <p:spPr bwMode="gray">
              <a:xfrm>
                <a:off x="6391275" y="1009651"/>
                <a:ext cx="1457325" cy="520700"/>
              </a:xfrm>
              <a:custGeom>
                <a:avLst/>
                <a:gdLst>
                  <a:gd name="T0" fmla="*/ 3941 w 5251"/>
                  <a:gd name="T1" fmla="*/ 1097 h 1878"/>
                  <a:gd name="T2" fmla="*/ 3941 w 5251"/>
                  <a:gd name="T3" fmla="*/ 1097 h 1878"/>
                  <a:gd name="T4" fmla="*/ 4772 w 5251"/>
                  <a:gd name="T5" fmla="*/ 1097 h 1878"/>
                  <a:gd name="T6" fmla="*/ 4625 w 5251"/>
                  <a:gd name="T7" fmla="*/ 478 h 1878"/>
                  <a:gd name="T8" fmla="*/ 3941 w 5251"/>
                  <a:gd name="T9" fmla="*/ 1097 h 1878"/>
                  <a:gd name="T10" fmla="*/ 3941 w 5251"/>
                  <a:gd name="T11" fmla="*/ 1097 h 1878"/>
                  <a:gd name="T12" fmla="*/ 306 w 5251"/>
                  <a:gd name="T13" fmla="*/ 1810 h 1878"/>
                  <a:gd name="T14" fmla="*/ 306 w 5251"/>
                  <a:gd name="T15" fmla="*/ 1810 h 1878"/>
                  <a:gd name="T16" fmla="*/ 0 w 5251"/>
                  <a:gd name="T17" fmla="*/ 1810 h 1878"/>
                  <a:gd name="T18" fmla="*/ 1286 w 5251"/>
                  <a:gd name="T19" fmla="*/ 0 h 1878"/>
                  <a:gd name="T20" fmla="*/ 1603 w 5251"/>
                  <a:gd name="T21" fmla="*/ 1432 h 1878"/>
                  <a:gd name="T22" fmla="*/ 3116 w 5251"/>
                  <a:gd name="T23" fmla="*/ 0 h 1878"/>
                  <a:gd name="T24" fmla="*/ 2906 w 5251"/>
                  <a:gd name="T25" fmla="*/ 1758 h 1878"/>
                  <a:gd name="T26" fmla="*/ 4815 w 5251"/>
                  <a:gd name="T27" fmla="*/ 6 h 1878"/>
                  <a:gd name="T28" fmla="*/ 5251 w 5251"/>
                  <a:gd name="T29" fmla="*/ 1810 h 1878"/>
                  <a:gd name="T30" fmla="*/ 4912 w 5251"/>
                  <a:gd name="T31" fmla="*/ 1810 h 1878"/>
                  <a:gd name="T32" fmla="*/ 4787 w 5251"/>
                  <a:gd name="T33" fmla="*/ 1289 h 1878"/>
                  <a:gd name="T34" fmla="*/ 3761 w 5251"/>
                  <a:gd name="T35" fmla="*/ 1289 h 1878"/>
                  <a:gd name="T36" fmla="*/ 3200 w 5251"/>
                  <a:gd name="T37" fmla="*/ 1810 h 1878"/>
                  <a:gd name="T38" fmla="*/ 2594 w 5251"/>
                  <a:gd name="T39" fmla="*/ 1810 h 1878"/>
                  <a:gd name="T40" fmla="*/ 2742 w 5251"/>
                  <a:gd name="T41" fmla="*/ 653 h 1878"/>
                  <a:gd name="T42" fmla="*/ 1422 w 5251"/>
                  <a:gd name="T43" fmla="*/ 1878 h 1878"/>
                  <a:gd name="T44" fmla="*/ 1121 w 5251"/>
                  <a:gd name="T45" fmla="*/ 648 h 1878"/>
                  <a:gd name="T46" fmla="*/ 306 w 5251"/>
                  <a:gd name="T47" fmla="*/ 1810 h 1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51" h="1878">
                    <a:moveTo>
                      <a:pt x="3941" y="1097"/>
                    </a:moveTo>
                    <a:lnTo>
                      <a:pt x="3941" y="1097"/>
                    </a:lnTo>
                    <a:lnTo>
                      <a:pt x="4772" y="1097"/>
                    </a:lnTo>
                    <a:lnTo>
                      <a:pt x="4625" y="478"/>
                    </a:lnTo>
                    <a:lnTo>
                      <a:pt x="3941" y="1097"/>
                    </a:lnTo>
                    <a:lnTo>
                      <a:pt x="3941" y="1097"/>
                    </a:lnTo>
                    <a:close/>
                    <a:moveTo>
                      <a:pt x="306" y="1810"/>
                    </a:moveTo>
                    <a:lnTo>
                      <a:pt x="306" y="1810"/>
                    </a:lnTo>
                    <a:lnTo>
                      <a:pt x="0" y="1810"/>
                    </a:lnTo>
                    <a:lnTo>
                      <a:pt x="1286" y="0"/>
                    </a:lnTo>
                    <a:lnTo>
                      <a:pt x="1603" y="1432"/>
                    </a:lnTo>
                    <a:lnTo>
                      <a:pt x="3116" y="0"/>
                    </a:lnTo>
                    <a:lnTo>
                      <a:pt x="2906" y="1758"/>
                    </a:lnTo>
                    <a:lnTo>
                      <a:pt x="4815" y="6"/>
                    </a:lnTo>
                    <a:lnTo>
                      <a:pt x="5251" y="1810"/>
                    </a:lnTo>
                    <a:lnTo>
                      <a:pt x="4912" y="1810"/>
                    </a:lnTo>
                    <a:lnTo>
                      <a:pt x="4787" y="1289"/>
                    </a:lnTo>
                    <a:lnTo>
                      <a:pt x="3761" y="1289"/>
                    </a:lnTo>
                    <a:lnTo>
                      <a:pt x="3200" y="1810"/>
                    </a:lnTo>
                    <a:lnTo>
                      <a:pt x="2594" y="1810"/>
                    </a:lnTo>
                    <a:lnTo>
                      <a:pt x="2742" y="653"/>
                    </a:lnTo>
                    <a:lnTo>
                      <a:pt x="1422" y="1878"/>
                    </a:lnTo>
                    <a:lnTo>
                      <a:pt x="1121" y="648"/>
                    </a:lnTo>
                    <a:lnTo>
                      <a:pt x="306" y="181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9" name="Freeform 33"/>
              <p:cNvSpPr>
                <a:spLocks noEditPoints="1"/>
              </p:cNvSpPr>
              <p:nvPr/>
            </p:nvSpPr>
            <p:spPr bwMode="gray">
              <a:xfrm>
                <a:off x="8720138" y="1030288"/>
                <a:ext cx="620713" cy="481013"/>
              </a:xfrm>
              <a:custGeom>
                <a:avLst/>
                <a:gdLst>
                  <a:gd name="T0" fmla="*/ 735 w 2235"/>
                  <a:gd name="T1" fmla="*/ 751 h 1734"/>
                  <a:gd name="T2" fmla="*/ 735 w 2235"/>
                  <a:gd name="T3" fmla="*/ 751 h 1734"/>
                  <a:gd name="T4" fmla="*/ 975 w 2235"/>
                  <a:gd name="T5" fmla="*/ 187 h 1734"/>
                  <a:gd name="T6" fmla="*/ 1413 w 2235"/>
                  <a:gd name="T7" fmla="*/ 187 h 1734"/>
                  <a:gd name="T8" fmla="*/ 1706 w 2235"/>
                  <a:gd name="T9" fmla="*/ 492 h 1734"/>
                  <a:gd name="T10" fmla="*/ 1198 w 2235"/>
                  <a:gd name="T11" fmla="*/ 754 h 1734"/>
                  <a:gd name="T12" fmla="*/ 735 w 2235"/>
                  <a:gd name="T13" fmla="*/ 751 h 1734"/>
                  <a:gd name="T14" fmla="*/ 0 w 2235"/>
                  <a:gd name="T15" fmla="*/ 1734 h 1734"/>
                  <a:gd name="T16" fmla="*/ 0 w 2235"/>
                  <a:gd name="T17" fmla="*/ 1734 h 1734"/>
                  <a:gd name="T18" fmla="*/ 317 w 2235"/>
                  <a:gd name="T19" fmla="*/ 1734 h 1734"/>
                  <a:gd name="T20" fmla="*/ 682 w 2235"/>
                  <a:gd name="T21" fmla="*/ 877 h 1734"/>
                  <a:gd name="T22" fmla="*/ 1314 w 2235"/>
                  <a:gd name="T23" fmla="*/ 1734 h 1734"/>
                  <a:gd name="T24" fmla="*/ 1720 w 2235"/>
                  <a:gd name="T25" fmla="*/ 1734 h 1734"/>
                  <a:gd name="T26" fmla="*/ 1068 w 2235"/>
                  <a:gd name="T27" fmla="*/ 915 h 1734"/>
                  <a:gd name="T28" fmla="*/ 2020 w 2235"/>
                  <a:gd name="T29" fmla="*/ 509 h 1734"/>
                  <a:gd name="T30" fmla="*/ 1589 w 2235"/>
                  <a:gd name="T31" fmla="*/ 4 h 1734"/>
                  <a:gd name="T32" fmla="*/ 745 w 2235"/>
                  <a:gd name="T33" fmla="*/ 4 h 1734"/>
                  <a:gd name="T34" fmla="*/ 0 w 2235"/>
                  <a:gd name="T35" fmla="*/ 1734 h 1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5" h="1734">
                    <a:moveTo>
                      <a:pt x="735" y="751"/>
                    </a:moveTo>
                    <a:lnTo>
                      <a:pt x="735" y="751"/>
                    </a:lnTo>
                    <a:lnTo>
                      <a:pt x="975" y="187"/>
                    </a:lnTo>
                    <a:lnTo>
                      <a:pt x="1413" y="187"/>
                    </a:lnTo>
                    <a:cubicBezTo>
                      <a:pt x="1652" y="187"/>
                      <a:pt x="1805" y="282"/>
                      <a:pt x="1706" y="492"/>
                    </a:cubicBezTo>
                    <a:cubicBezTo>
                      <a:pt x="1611" y="695"/>
                      <a:pt x="1410" y="753"/>
                      <a:pt x="1198" y="754"/>
                    </a:cubicBezTo>
                    <a:cubicBezTo>
                      <a:pt x="908" y="758"/>
                      <a:pt x="785" y="753"/>
                      <a:pt x="735" y="751"/>
                    </a:cubicBezTo>
                    <a:close/>
                    <a:moveTo>
                      <a:pt x="0" y="1734"/>
                    </a:moveTo>
                    <a:lnTo>
                      <a:pt x="0" y="1734"/>
                    </a:lnTo>
                    <a:lnTo>
                      <a:pt x="317" y="1734"/>
                    </a:lnTo>
                    <a:lnTo>
                      <a:pt x="682" y="877"/>
                    </a:lnTo>
                    <a:lnTo>
                      <a:pt x="1314" y="1734"/>
                    </a:lnTo>
                    <a:lnTo>
                      <a:pt x="1720" y="1734"/>
                    </a:lnTo>
                    <a:lnTo>
                      <a:pt x="1068" y="915"/>
                    </a:lnTo>
                    <a:cubicBezTo>
                      <a:pt x="1425" y="901"/>
                      <a:pt x="1825" y="890"/>
                      <a:pt x="2020" y="509"/>
                    </a:cubicBezTo>
                    <a:cubicBezTo>
                      <a:pt x="2235" y="0"/>
                      <a:pt x="1589" y="4"/>
                      <a:pt x="1589" y="4"/>
                    </a:cubicBezTo>
                    <a:lnTo>
                      <a:pt x="745" y="4"/>
                    </a:lnTo>
                    <a:lnTo>
                      <a:pt x="0" y="1734"/>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sp>
          <p:nvSpPr>
            <p:cNvPr id="49" name="TextBox 37"/>
            <p:cNvSpPr txBox="1"/>
            <p:nvPr/>
          </p:nvSpPr>
          <p:spPr bwMode="gray">
            <a:xfrm>
              <a:off x="3187895" y="3833979"/>
              <a:ext cx="5816209" cy="840230"/>
            </a:xfrm>
            <a:prstGeom prst="rect">
              <a:avLst/>
            </a:prstGeom>
            <a:noFill/>
          </p:spPr>
          <p:txBody>
            <a:bodyPr wrap="square" lIns="0" tIns="0" rIns="0" bIns="0">
              <a:spAutoFit/>
            </a:bodyPr>
            <a:lstStyle/>
            <a:p>
              <a:pPr algn="ctr" defTabSz="914400" eaLnBrk="1" fontAlgn="auto" hangingPunct="1">
                <a:spcBef>
                  <a:spcPct val="20000"/>
                </a:spcBef>
                <a:spcAft>
                  <a:spcPts val="0"/>
                </a:spcAft>
                <a:buFont typeface="Arial" pitchFamily="34" charset="0"/>
                <a:buNone/>
                <a:defRPr/>
              </a:pPr>
              <a:r>
                <a:rPr lang="en-US" sz="1050" dirty="0">
                  <a:solidFill>
                    <a:prstClr val="white"/>
                  </a:solidFill>
                  <a:latin typeface="+mj-lt"/>
                </a:rPr>
                <a:t>COPYRIGHT © </a:t>
              </a:r>
              <a:r>
                <a:rPr lang="en-US" sz="1050" dirty="0" smtClean="0">
                  <a:solidFill>
                    <a:prstClr val="white"/>
                  </a:solidFill>
                  <a:latin typeface="+mj-lt"/>
                </a:rPr>
                <a:t>2016. </a:t>
              </a:r>
              <a:r>
                <a:rPr lang="en-US" sz="1050" dirty="0">
                  <a:solidFill>
                    <a:prstClr val="white"/>
                  </a:solidFill>
                  <a:latin typeface="+mj-lt"/>
                </a:rPr>
                <a:t>ALL RIGHTS PROTECTED AND RESERVED.</a:t>
              </a:r>
            </a:p>
            <a:p>
              <a:pPr algn="ctr" defTabSz="914400" eaLnBrk="1" fontAlgn="auto" hangingPunct="1">
                <a:spcBef>
                  <a:spcPct val="20000"/>
                </a:spcBef>
                <a:spcAft>
                  <a:spcPts val="0"/>
                </a:spcAft>
                <a:buFont typeface="Arial" pitchFamily="34" charset="0"/>
                <a:buNone/>
                <a:defRPr/>
              </a:pPr>
              <a:r>
                <a:rPr lang="en-US" sz="1050" dirty="0" smtClean="0">
                  <a:solidFill>
                    <a:prstClr val="white"/>
                  </a:solidFill>
                  <a:latin typeface="+mj-lt"/>
                </a:rPr>
                <a:t>The </a:t>
              </a:r>
              <a:r>
                <a:rPr lang="en-US" sz="1050" dirty="0">
                  <a:solidFill>
                    <a:prstClr val="white"/>
                  </a:solidFill>
                  <a:latin typeface="+mj-lt"/>
                </a:rPr>
                <a:t>information contained in this document, much of which is confidential to </a:t>
              </a:r>
              <a:r>
                <a:rPr lang="en-US" sz="1050" dirty="0" smtClean="0">
                  <a:solidFill>
                    <a:prstClr val="white"/>
                  </a:solidFill>
                  <a:latin typeface="+mj-lt"/>
                </a:rPr>
                <a:t>Maveric Systems, </a:t>
              </a:r>
              <a:r>
                <a:rPr lang="en-US" sz="1050" dirty="0">
                  <a:solidFill>
                    <a:prstClr val="white"/>
                  </a:solidFill>
                  <a:latin typeface="+mj-lt"/>
                </a:rPr>
                <a:t>is for the sole use of the intended recipients. No part of this document may be reproduced in any form or by any means, electronic, mechanical, photocopying, recording, or otherwise, without the prior written permission of </a:t>
              </a:r>
              <a:r>
                <a:rPr lang="en-US" sz="1050" dirty="0" smtClean="0">
                  <a:solidFill>
                    <a:prstClr val="white"/>
                  </a:solidFill>
                  <a:latin typeface="+mj-lt"/>
                </a:rPr>
                <a:t>Maveric Systems.</a:t>
              </a:r>
              <a:endParaRPr lang="en-US" sz="1050" dirty="0">
                <a:solidFill>
                  <a:prstClr val="white"/>
                </a:solidFill>
                <a:latin typeface="+mj-lt"/>
              </a:endParaRPr>
            </a:p>
          </p:txBody>
        </p:sp>
        <p:sp>
          <p:nvSpPr>
            <p:cNvPr id="50" name="TextBox 49"/>
            <p:cNvSpPr txBox="1"/>
            <p:nvPr/>
          </p:nvSpPr>
          <p:spPr bwMode="gray">
            <a:xfrm>
              <a:off x="4270082" y="1375632"/>
              <a:ext cx="3651834" cy="2241639"/>
            </a:xfrm>
            <a:prstGeom prst="rect">
              <a:avLst/>
            </a:prstGeom>
            <a:noFill/>
          </p:spPr>
          <p:txBody>
            <a:bodyPr wrap="none" lIns="0" tIns="0" rIns="0" bIns="0" anchor="b" anchorCtr="0">
              <a:spAutoFit/>
            </a:bodyPr>
            <a:lstStyle/>
            <a:p>
              <a:pPr algn="ctr" defTabSz="914400" eaLnBrk="1" fontAlgn="auto" hangingPunct="1">
                <a:spcBef>
                  <a:spcPts val="0"/>
                </a:spcBef>
                <a:spcAft>
                  <a:spcPts val="0"/>
                </a:spcAft>
                <a:defRPr/>
              </a:pPr>
              <a:r>
                <a:rPr lang="en-US" sz="1200" dirty="0" smtClean="0">
                  <a:solidFill>
                    <a:srgbClr val="007BA2"/>
                  </a:solidFill>
                  <a:latin typeface="+mj-lt"/>
                  <a:cs typeface="Arial" panose="020B0604020202020204" pitchFamily="34" charset="0"/>
                </a:rPr>
                <a:t>Corporate </a:t>
              </a:r>
              <a:r>
                <a:rPr lang="en-US" sz="1200" dirty="0">
                  <a:solidFill>
                    <a:srgbClr val="007BA2"/>
                  </a:solidFill>
                  <a:latin typeface="+mj-lt"/>
                  <a:cs typeface="Arial" panose="020B0604020202020204" pitchFamily="34" charset="0"/>
                </a:rPr>
                <a:t>Headquarters</a:t>
              </a:r>
            </a:p>
            <a:p>
              <a:pPr algn="ctr" defTabSz="914400" eaLnBrk="1" fontAlgn="auto" hangingPunct="1">
                <a:spcBef>
                  <a:spcPts val="0"/>
                </a:spcBef>
                <a:spcAft>
                  <a:spcPts val="0"/>
                </a:spcAft>
                <a:tabLst>
                  <a:tab pos="457200" algn="l"/>
                </a:tabLst>
                <a:defRPr/>
              </a:pPr>
              <a:r>
                <a:rPr lang="en-US" sz="1200" dirty="0" smtClean="0">
                  <a:solidFill>
                    <a:prstClr val="black">
                      <a:lumMod val="65000"/>
                      <a:lumOff val="35000"/>
                    </a:prstClr>
                  </a:solidFill>
                  <a:latin typeface="+mj-lt"/>
                  <a:cs typeface="Arial" panose="020B0604020202020204" pitchFamily="34" charset="0"/>
                </a:rPr>
                <a:t>Lords Tower, Block 1,</a:t>
              </a:r>
            </a:p>
            <a:p>
              <a:pPr algn="ctr" defTabSz="914400" eaLnBrk="1" fontAlgn="auto" hangingPunct="1">
                <a:spcBef>
                  <a:spcPts val="0"/>
                </a:spcBef>
                <a:spcAft>
                  <a:spcPts val="0"/>
                </a:spcAft>
                <a:tabLst>
                  <a:tab pos="457200" algn="l"/>
                </a:tabLst>
                <a:defRPr/>
              </a:pPr>
              <a:r>
                <a:rPr lang="en-US" sz="1200" dirty="0" smtClean="0">
                  <a:solidFill>
                    <a:prstClr val="black">
                      <a:lumMod val="65000"/>
                      <a:lumOff val="35000"/>
                    </a:prstClr>
                  </a:solidFill>
                  <a:latin typeface="+mj-lt"/>
                  <a:cs typeface="Arial" panose="020B0604020202020204" pitchFamily="34" charset="0"/>
                </a:rPr>
                <a:t>2</a:t>
              </a:r>
              <a:r>
                <a:rPr lang="en-US" sz="1200" baseline="30000" dirty="0" smtClean="0">
                  <a:solidFill>
                    <a:prstClr val="black">
                      <a:lumMod val="65000"/>
                      <a:lumOff val="35000"/>
                    </a:prstClr>
                  </a:solidFill>
                  <a:latin typeface="+mj-lt"/>
                  <a:cs typeface="Arial" panose="020B0604020202020204" pitchFamily="34" charset="0"/>
                </a:rPr>
                <a:t>nd</a:t>
              </a:r>
              <a:r>
                <a:rPr lang="en-US" sz="1200" dirty="0" smtClean="0">
                  <a:solidFill>
                    <a:prstClr val="black">
                      <a:lumMod val="65000"/>
                      <a:lumOff val="35000"/>
                    </a:prstClr>
                  </a:solidFill>
                  <a:latin typeface="+mj-lt"/>
                  <a:cs typeface="Arial" panose="020B0604020202020204" pitchFamily="34" charset="0"/>
                </a:rPr>
                <a:t> Floor, Plot No. 1&amp;2 NP,</a:t>
              </a:r>
            </a:p>
            <a:p>
              <a:pPr algn="ctr" defTabSz="914400" eaLnBrk="1" fontAlgn="auto" hangingPunct="1">
                <a:spcBef>
                  <a:spcPts val="0"/>
                </a:spcBef>
                <a:spcAft>
                  <a:spcPts val="0"/>
                </a:spcAft>
                <a:tabLst>
                  <a:tab pos="457200" algn="l"/>
                </a:tabLst>
                <a:defRPr/>
              </a:pPr>
              <a:r>
                <a:rPr lang="en-US" sz="1200" dirty="0" smtClean="0">
                  <a:solidFill>
                    <a:prstClr val="black">
                      <a:lumMod val="65000"/>
                      <a:lumOff val="35000"/>
                    </a:prstClr>
                  </a:solidFill>
                  <a:latin typeface="+mj-lt"/>
                  <a:cs typeface="Arial" panose="020B0604020202020204" pitchFamily="34" charset="0"/>
                </a:rPr>
                <a:t>Jawaharlal Nehru Road,</a:t>
              </a:r>
            </a:p>
            <a:p>
              <a:pPr algn="ctr" defTabSz="914400" eaLnBrk="1" fontAlgn="auto" hangingPunct="1">
                <a:spcBef>
                  <a:spcPts val="0"/>
                </a:spcBef>
                <a:spcAft>
                  <a:spcPts val="0"/>
                </a:spcAft>
                <a:tabLst>
                  <a:tab pos="457200" algn="l"/>
                </a:tabLst>
                <a:defRPr/>
              </a:pPr>
              <a:r>
                <a:rPr lang="en-US" sz="1200" dirty="0" err="1" smtClean="0">
                  <a:solidFill>
                    <a:prstClr val="black">
                      <a:lumMod val="65000"/>
                      <a:lumOff val="35000"/>
                    </a:prstClr>
                  </a:solidFill>
                  <a:latin typeface="+mj-lt"/>
                  <a:cs typeface="Arial" panose="020B0604020202020204" pitchFamily="34" charset="0"/>
                </a:rPr>
                <a:t>Thiru</a:t>
              </a:r>
              <a:r>
                <a:rPr lang="en-US" sz="1200" dirty="0" smtClean="0">
                  <a:solidFill>
                    <a:prstClr val="black">
                      <a:lumMod val="65000"/>
                      <a:lumOff val="35000"/>
                    </a:prstClr>
                  </a:solidFill>
                  <a:latin typeface="+mj-lt"/>
                  <a:cs typeface="Arial" panose="020B0604020202020204" pitchFamily="34" charset="0"/>
                </a:rPr>
                <a:t> Vi </a:t>
              </a:r>
              <a:r>
                <a:rPr lang="en-US" sz="1200" dirty="0" err="1" smtClean="0">
                  <a:solidFill>
                    <a:prstClr val="black">
                      <a:lumMod val="65000"/>
                      <a:lumOff val="35000"/>
                    </a:prstClr>
                  </a:solidFill>
                  <a:latin typeface="+mj-lt"/>
                  <a:cs typeface="Arial" panose="020B0604020202020204" pitchFamily="34" charset="0"/>
                </a:rPr>
                <a:t>Ka</a:t>
              </a:r>
              <a:r>
                <a:rPr lang="en-US" sz="1200" dirty="0" smtClean="0">
                  <a:solidFill>
                    <a:prstClr val="black">
                      <a:lumMod val="65000"/>
                      <a:lumOff val="35000"/>
                    </a:prstClr>
                  </a:solidFill>
                  <a:latin typeface="+mj-lt"/>
                  <a:cs typeface="Arial" panose="020B0604020202020204" pitchFamily="34" charset="0"/>
                </a:rPr>
                <a:t> Industrial Estate</a:t>
              </a:r>
            </a:p>
            <a:p>
              <a:pPr algn="ctr" defTabSz="914400" eaLnBrk="1" fontAlgn="auto" hangingPunct="1">
                <a:spcBef>
                  <a:spcPts val="0"/>
                </a:spcBef>
                <a:spcAft>
                  <a:spcPts val="0"/>
                </a:spcAft>
                <a:tabLst>
                  <a:tab pos="457200" algn="l"/>
                </a:tabLst>
                <a:defRPr/>
              </a:pPr>
              <a:r>
                <a:rPr lang="en-US" sz="1200" dirty="0" err="1" smtClean="0">
                  <a:solidFill>
                    <a:prstClr val="black">
                      <a:lumMod val="65000"/>
                      <a:lumOff val="35000"/>
                    </a:prstClr>
                  </a:solidFill>
                  <a:latin typeface="+mj-lt"/>
                  <a:cs typeface="Arial" panose="020B0604020202020204" pitchFamily="34" charset="0"/>
                </a:rPr>
                <a:t>Ekkaduthangal</a:t>
              </a:r>
              <a:r>
                <a:rPr lang="en-US" sz="1200" dirty="0" smtClean="0">
                  <a:solidFill>
                    <a:prstClr val="black">
                      <a:lumMod val="65000"/>
                      <a:lumOff val="35000"/>
                    </a:prstClr>
                  </a:solidFill>
                  <a:latin typeface="+mj-lt"/>
                  <a:cs typeface="Arial" panose="020B0604020202020204" pitchFamily="34" charset="0"/>
                </a:rPr>
                <a:t>, Chennai – 600 032</a:t>
              </a:r>
            </a:p>
            <a:p>
              <a:pPr algn="ctr" defTabSz="914400" eaLnBrk="1" fontAlgn="auto" hangingPunct="1">
                <a:spcBef>
                  <a:spcPts val="0"/>
                </a:spcBef>
                <a:spcAft>
                  <a:spcPts val="0"/>
                </a:spcAft>
                <a:tabLst>
                  <a:tab pos="457200" algn="l"/>
                </a:tabLst>
                <a:defRPr/>
              </a:pPr>
              <a:endParaRPr lang="en-US" sz="1200" dirty="0" smtClean="0">
                <a:solidFill>
                  <a:prstClr val="black">
                    <a:lumMod val="65000"/>
                    <a:lumOff val="35000"/>
                  </a:prstClr>
                </a:solidFill>
                <a:latin typeface="+mj-lt"/>
                <a:cs typeface="Arial" panose="020B0604020202020204" pitchFamily="34" charset="0"/>
                <a:hlinkClick r:id=""/>
              </a:endParaRPr>
            </a:p>
            <a:p>
              <a:pPr algn="ctr" defTabSz="914400" eaLnBrk="1" fontAlgn="auto" hangingPunct="1">
                <a:spcBef>
                  <a:spcPts val="0"/>
                </a:spcBef>
                <a:spcAft>
                  <a:spcPts val="0"/>
                </a:spcAft>
                <a:tabLst>
                  <a:tab pos="457200" algn="l"/>
                </a:tabLst>
                <a:defRPr/>
              </a:pPr>
              <a:r>
                <a:rPr lang="en-US" sz="1200" dirty="0" smtClean="0">
                  <a:solidFill>
                    <a:prstClr val="black">
                      <a:lumMod val="65000"/>
                      <a:lumOff val="35000"/>
                    </a:prstClr>
                  </a:solidFill>
                  <a:latin typeface="+mj-lt"/>
                  <a:cs typeface="Arial" panose="020B0604020202020204" pitchFamily="34" charset="0"/>
                  <a:hlinkClick r:id=""/>
                </a:rPr>
                <a:t>www.maveric-systems.com</a:t>
              </a:r>
              <a:endParaRPr lang="en-US" sz="1200" dirty="0" smtClean="0">
                <a:solidFill>
                  <a:prstClr val="black">
                    <a:lumMod val="65000"/>
                    <a:lumOff val="35000"/>
                  </a:prstClr>
                </a:solidFill>
                <a:latin typeface="+mj-lt"/>
                <a:cs typeface="Arial" panose="020B0604020202020204" pitchFamily="34" charset="0"/>
              </a:endParaRPr>
            </a:p>
            <a:p>
              <a:pPr algn="ctr" defTabSz="914400" eaLnBrk="1" fontAlgn="auto" hangingPunct="1">
                <a:spcBef>
                  <a:spcPts val="0"/>
                </a:spcBef>
                <a:spcAft>
                  <a:spcPts val="0"/>
                </a:spcAft>
                <a:tabLst>
                  <a:tab pos="457200" algn="l"/>
                </a:tabLst>
                <a:defRPr/>
              </a:pPr>
              <a:endParaRPr lang="tr-TR" sz="1200" dirty="0" smtClean="0">
                <a:solidFill>
                  <a:prstClr val="black">
                    <a:lumMod val="65000"/>
                    <a:lumOff val="35000"/>
                  </a:prstClr>
                </a:solidFill>
                <a:latin typeface="+mj-lt"/>
                <a:cs typeface="Arial" panose="020B0604020202020204" pitchFamily="34" charset="0"/>
              </a:endParaRPr>
            </a:p>
            <a:p>
              <a:pPr algn="ctr" defTabSz="914400" eaLnBrk="1" fontAlgn="auto" hangingPunct="1">
                <a:spcBef>
                  <a:spcPts val="0"/>
                </a:spcBef>
                <a:spcAft>
                  <a:spcPts val="0"/>
                </a:spcAft>
                <a:tabLst>
                  <a:tab pos="457200" algn="l"/>
                </a:tabLst>
                <a:defRPr/>
              </a:pPr>
              <a:endParaRPr lang="tr-TR" sz="1200" dirty="0">
                <a:solidFill>
                  <a:prstClr val="black">
                    <a:lumMod val="65000"/>
                    <a:lumOff val="35000"/>
                  </a:prstClr>
                </a:solidFill>
                <a:latin typeface="+mj-lt"/>
                <a:cs typeface="Arial" panose="020B0604020202020204" pitchFamily="34" charset="0"/>
              </a:endParaRPr>
            </a:p>
            <a:p>
              <a:pPr algn="ctr" defTabSz="914400" eaLnBrk="1" fontAlgn="auto" hangingPunct="1">
                <a:spcBef>
                  <a:spcPts val="0"/>
                </a:spcBef>
                <a:spcAft>
                  <a:spcPts val="0"/>
                </a:spcAft>
                <a:tabLst>
                  <a:tab pos="457200" algn="l"/>
                </a:tabLst>
                <a:defRPr/>
              </a:pPr>
              <a:r>
                <a:rPr lang="tr-TR" sz="1200" dirty="0" smtClean="0">
                  <a:solidFill>
                    <a:srgbClr val="007BA2"/>
                  </a:solidFill>
                  <a:latin typeface="+mj-lt"/>
                  <a:ea typeface="+mn-ea"/>
                  <a:cs typeface="Arial" panose="020B0604020202020204" pitchFamily="34" charset="0"/>
                </a:rPr>
                <a:t>Global </a:t>
              </a:r>
              <a:r>
                <a:rPr lang="tr-TR" sz="1200" dirty="0">
                  <a:solidFill>
                    <a:srgbClr val="007BA2"/>
                  </a:solidFill>
                  <a:latin typeface="+mj-lt"/>
                  <a:ea typeface="+mn-ea"/>
                  <a:cs typeface="Arial" panose="020B0604020202020204" pitchFamily="34" charset="0"/>
                </a:rPr>
                <a:t>Locations</a:t>
              </a:r>
            </a:p>
            <a:p>
              <a:pPr algn="ctr" defTabSz="914400" eaLnBrk="1" fontAlgn="auto" hangingPunct="1">
                <a:spcBef>
                  <a:spcPts val="200"/>
                </a:spcBef>
                <a:spcAft>
                  <a:spcPts val="0"/>
                </a:spcAft>
                <a:defRPr/>
              </a:pPr>
              <a:r>
                <a:rPr lang="en-IN" sz="1200" dirty="0" smtClean="0">
                  <a:solidFill>
                    <a:srgbClr val="000000">
                      <a:lumMod val="65000"/>
                      <a:lumOff val="35000"/>
                    </a:srgbClr>
                  </a:solidFill>
                  <a:latin typeface="+mj-lt"/>
                  <a:cs typeface="Arial" panose="020B0604020202020204" pitchFamily="34" charset="0"/>
                </a:rPr>
                <a:t>SINGAPORE</a:t>
              </a:r>
              <a:r>
                <a:rPr lang="en-IN" sz="1200" baseline="0" dirty="0" smtClean="0">
                  <a:solidFill>
                    <a:srgbClr val="000000">
                      <a:lumMod val="65000"/>
                      <a:lumOff val="35000"/>
                    </a:srgbClr>
                  </a:solidFill>
                  <a:latin typeface="+mj-lt"/>
                  <a:cs typeface="Arial" panose="020B0604020202020204" pitchFamily="34" charset="0"/>
                </a:rPr>
                <a:t>  |  </a:t>
              </a:r>
              <a:r>
                <a:rPr lang="en-IN" sz="1200" dirty="0" smtClean="0">
                  <a:solidFill>
                    <a:srgbClr val="000000">
                      <a:lumMod val="65000"/>
                      <a:lumOff val="35000"/>
                    </a:srgbClr>
                  </a:solidFill>
                  <a:latin typeface="+mj-lt"/>
                  <a:cs typeface="Arial" panose="020B0604020202020204" pitchFamily="34" charset="0"/>
                </a:rPr>
                <a:t>UK  |  US  |  DUBAI  |  RIYADH  |  MALAYSIA</a:t>
              </a:r>
            </a:p>
          </p:txBody>
        </p:sp>
      </p:grpSp>
    </p:spTree>
    <p:extLst>
      <p:ext uri="{BB962C8B-B14F-4D97-AF65-F5344CB8AC3E}">
        <p14:creationId xmlns:p14="http://schemas.microsoft.com/office/powerpoint/2010/main" val="2032067575"/>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cSld name="1_Content slide">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600" y="93766"/>
            <a:ext cx="10972800" cy="769441"/>
          </a:xfrm>
          <a:prstGeom prst="rect">
            <a:avLst/>
          </a:prstGeom>
          <a:noFill/>
          <a:ln w="9525">
            <a:noFill/>
            <a:miter lim="800000"/>
            <a:headEnd/>
            <a:tailEnd/>
          </a:ln>
        </p:spPr>
        <p:txBody>
          <a:bodyPr vert="horz" wrap="square" lIns="91440" tIns="45720" rIns="91440" bIns="45720" numCol="1" rtlCol="0" anchor="ctr" anchorCtr="0" compatLnSpc="1">
            <a:prstTxWarp prst="textNoShape">
              <a:avLst/>
            </a:prstTxWarp>
            <a:spAutoFit/>
          </a:bodyPr>
          <a:lstStyle>
            <a:lvl1pPr>
              <a:defRPr>
                <a:solidFill>
                  <a:schemeClr val="accent2"/>
                </a:solidFill>
              </a:defRPr>
            </a:lvl1pPr>
          </a:lstStyle>
          <a:p>
            <a:pPr marL="0" lvl="0" eaLnBrk="0" hangingPunct="0">
              <a:spcBef>
                <a:spcPct val="20000"/>
              </a:spcBef>
            </a:pPr>
            <a:r>
              <a:rPr lang="en-US" dirty="0"/>
              <a:t>Click to edit Master title style</a:t>
            </a:r>
          </a:p>
        </p:txBody>
      </p:sp>
      <p:sp>
        <p:nvSpPr>
          <p:cNvPr id="6" name="Text Placeholder 2"/>
          <p:cNvSpPr>
            <a:spLocks noGrp="1"/>
          </p:cNvSpPr>
          <p:nvPr>
            <p:ph idx="1"/>
          </p:nvPr>
        </p:nvSpPr>
        <p:spPr>
          <a:xfrm>
            <a:off x="609600" y="1144965"/>
            <a:ext cx="10972800" cy="5148260"/>
          </a:xfrm>
          <a:prstGeom prst="rect">
            <a:avLst/>
          </a:prstGeom>
        </p:spPr>
        <p:txBody>
          <a:bodyPr anchor="t">
            <a:normAutofit/>
          </a:bodyPr>
          <a:lstStyle>
            <a:lvl1pPr>
              <a:defRPr sz="3200"/>
            </a:lvl1pPr>
            <a:lvl2pPr>
              <a:defRPr sz="2667"/>
            </a:lvl2pPr>
            <a:lvl3pPr>
              <a:defRPr sz="1867"/>
            </a:lvl3pPr>
            <a:lvl4pPr>
              <a:defRPr sz="1600"/>
            </a:lvl4pPr>
            <a:lvl5pPr>
              <a:defRPr sz="14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1260751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genda slide">
    <p:spTree>
      <p:nvGrpSpPr>
        <p:cNvPr id="1" name=""/>
        <p:cNvGrpSpPr/>
        <p:nvPr/>
      </p:nvGrpSpPr>
      <p:grpSpPr>
        <a:xfrm>
          <a:off x="0" y="0"/>
          <a:ext cx="0" cy="0"/>
          <a:chOff x="0" y="0"/>
          <a:chExt cx="0" cy="0"/>
        </a:xfrm>
      </p:grpSpPr>
      <p:sp>
        <p:nvSpPr>
          <p:cNvPr id="16" name="Title 1"/>
          <p:cNvSpPr>
            <a:spLocks noGrp="1"/>
          </p:cNvSpPr>
          <p:nvPr>
            <p:ph type="ctrTitle" hasCustomPrompt="1"/>
          </p:nvPr>
        </p:nvSpPr>
        <p:spPr>
          <a:xfrm>
            <a:off x="613833" y="145522"/>
            <a:ext cx="10972800" cy="548640"/>
          </a:xfrm>
        </p:spPr>
        <p:txBody>
          <a:bodyPr>
            <a:normAutofit/>
          </a:bodyPr>
          <a:lstStyle>
            <a:lvl1pPr>
              <a:defRPr>
                <a:solidFill>
                  <a:schemeClr val="accent2"/>
                </a:solidFill>
                <a:latin typeface="+mj-lt"/>
              </a:defRPr>
            </a:lvl1pPr>
          </a:lstStyle>
          <a:p>
            <a:r>
              <a:rPr lang="en-US" dirty="0" smtClean="0"/>
              <a:t>Agenda</a:t>
            </a:r>
            <a:endParaRPr lang="en-IN" dirty="0"/>
          </a:p>
        </p:txBody>
      </p:sp>
      <p:sp>
        <p:nvSpPr>
          <p:cNvPr id="17" name="Text Placeholder 38"/>
          <p:cNvSpPr>
            <a:spLocks noGrp="1"/>
          </p:cNvSpPr>
          <p:nvPr>
            <p:ph type="body" sz="quarter" idx="10" hasCustomPrompt="1"/>
          </p:nvPr>
        </p:nvSpPr>
        <p:spPr>
          <a:xfrm>
            <a:off x="1345353" y="1350509"/>
            <a:ext cx="10241280" cy="640080"/>
          </a:xfrm>
        </p:spPr>
        <p:txBody>
          <a:bodyPr anchor="ctr">
            <a:noAutofit/>
          </a:bodyPr>
          <a:lstStyle>
            <a:lvl1pPr marL="0" indent="0">
              <a:buNone/>
              <a:defRPr sz="2800" b="1">
                <a:solidFill>
                  <a:schemeClr val="accent2"/>
                </a:solidFill>
                <a:latin typeface="+mn-lt"/>
              </a:defRPr>
            </a:lvl1pPr>
            <a:lvl2pPr>
              <a:buNone/>
              <a:defRPr/>
            </a:lvl2pPr>
            <a:lvl3pPr>
              <a:buNone/>
              <a:defRPr/>
            </a:lvl3pPr>
            <a:lvl4pPr>
              <a:buNone/>
              <a:defRPr/>
            </a:lvl4pPr>
            <a:lvl5pPr>
              <a:buNone/>
              <a:defRPr/>
            </a:lvl5pPr>
          </a:lstStyle>
          <a:p>
            <a:pPr lvl="0"/>
            <a:r>
              <a:rPr lang="en-US" dirty="0" smtClean="0"/>
              <a:t>Insert text here</a:t>
            </a:r>
          </a:p>
        </p:txBody>
      </p:sp>
      <p:sp>
        <p:nvSpPr>
          <p:cNvPr id="18" name="Text Placeholder 38"/>
          <p:cNvSpPr>
            <a:spLocks noGrp="1"/>
          </p:cNvSpPr>
          <p:nvPr>
            <p:ph type="body" sz="quarter" idx="11" hasCustomPrompt="1"/>
          </p:nvPr>
        </p:nvSpPr>
        <p:spPr>
          <a:xfrm>
            <a:off x="1345353" y="2380789"/>
            <a:ext cx="10241280" cy="640080"/>
          </a:xfrm>
        </p:spPr>
        <p:txBody>
          <a:bodyPr anchor="ctr">
            <a:noAutofit/>
          </a:bodyPr>
          <a:lstStyle>
            <a:lvl1pPr marL="0" indent="0">
              <a:buNone/>
              <a:tabLst/>
              <a:defRPr sz="2800" b="1">
                <a:solidFill>
                  <a:schemeClr val="accent2"/>
                </a:solidFill>
                <a:latin typeface="+mn-lt"/>
              </a:defRPr>
            </a:lvl1pPr>
            <a:lvl2pPr>
              <a:buNone/>
              <a:defRPr/>
            </a:lvl2pPr>
            <a:lvl3pPr>
              <a:buNone/>
              <a:defRPr/>
            </a:lvl3pPr>
            <a:lvl4pPr>
              <a:buNone/>
              <a:defRPr/>
            </a:lvl4pPr>
            <a:lvl5pPr>
              <a:buNone/>
              <a:defRPr/>
            </a:lvl5pPr>
          </a:lstStyle>
          <a:p>
            <a:pPr lvl="0"/>
            <a:r>
              <a:rPr lang="en-US" dirty="0" smtClean="0"/>
              <a:t>Insert text here</a:t>
            </a:r>
          </a:p>
        </p:txBody>
      </p:sp>
      <p:sp>
        <p:nvSpPr>
          <p:cNvPr id="24" name="Text Placeholder 38"/>
          <p:cNvSpPr>
            <a:spLocks noGrp="1"/>
          </p:cNvSpPr>
          <p:nvPr>
            <p:ph type="body" sz="quarter" idx="12" hasCustomPrompt="1"/>
          </p:nvPr>
        </p:nvSpPr>
        <p:spPr>
          <a:xfrm>
            <a:off x="1345353" y="3403153"/>
            <a:ext cx="10241280" cy="640080"/>
          </a:xfrm>
        </p:spPr>
        <p:txBody>
          <a:bodyPr anchor="ctr">
            <a:noAutofit/>
          </a:bodyPr>
          <a:lstStyle>
            <a:lvl1pPr marL="0" indent="0">
              <a:buNone/>
              <a:defRPr sz="2800" b="1">
                <a:solidFill>
                  <a:schemeClr val="accent2"/>
                </a:solidFill>
                <a:latin typeface="+mn-lt"/>
              </a:defRPr>
            </a:lvl1pPr>
            <a:lvl2pPr>
              <a:buNone/>
              <a:defRPr/>
            </a:lvl2pPr>
            <a:lvl3pPr>
              <a:buNone/>
              <a:defRPr/>
            </a:lvl3pPr>
            <a:lvl4pPr>
              <a:buNone/>
              <a:defRPr/>
            </a:lvl4pPr>
            <a:lvl5pPr>
              <a:buNone/>
              <a:defRPr/>
            </a:lvl5pPr>
          </a:lstStyle>
          <a:p>
            <a:pPr lvl="0"/>
            <a:r>
              <a:rPr lang="en-US" dirty="0" smtClean="0"/>
              <a:t>Insert text here</a:t>
            </a:r>
          </a:p>
        </p:txBody>
      </p:sp>
      <p:sp>
        <p:nvSpPr>
          <p:cNvPr id="25" name="Text Placeholder 38"/>
          <p:cNvSpPr>
            <a:spLocks noGrp="1"/>
          </p:cNvSpPr>
          <p:nvPr>
            <p:ph type="body" sz="quarter" idx="13" hasCustomPrompt="1"/>
          </p:nvPr>
        </p:nvSpPr>
        <p:spPr>
          <a:xfrm>
            <a:off x="1345353" y="4462030"/>
            <a:ext cx="10241280" cy="640080"/>
          </a:xfrm>
        </p:spPr>
        <p:txBody>
          <a:bodyPr anchor="ctr">
            <a:noAutofit/>
          </a:bodyPr>
          <a:lstStyle>
            <a:lvl1pPr marL="0" indent="0">
              <a:buNone/>
              <a:defRPr sz="2800" b="1">
                <a:solidFill>
                  <a:schemeClr val="accent2"/>
                </a:solidFill>
                <a:latin typeface="+mn-lt"/>
              </a:defRPr>
            </a:lvl1pPr>
            <a:lvl2pPr>
              <a:buNone/>
              <a:defRPr/>
            </a:lvl2pPr>
            <a:lvl3pPr>
              <a:buNone/>
              <a:defRPr/>
            </a:lvl3pPr>
            <a:lvl4pPr>
              <a:buNone/>
              <a:defRPr/>
            </a:lvl4pPr>
            <a:lvl5pPr>
              <a:buNone/>
              <a:defRPr/>
            </a:lvl5pPr>
          </a:lstStyle>
          <a:p>
            <a:pPr lvl="0"/>
            <a:r>
              <a:rPr lang="en-US" dirty="0" smtClean="0"/>
              <a:t>Insert text here</a:t>
            </a:r>
          </a:p>
        </p:txBody>
      </p:sp>
      <p:sp>
        <p:nvSpPr>
          <p:cNvPr id="27" name="Text Placeholder 38"/>
          <p:cNvSpPr>
            <a:spLocks noGrp="1"/>
          </p:cNvSpPr>
          <p:nvPr>
            <p:ph type="body" sz="quarter" idx="14" hasCustomPrompt="1"/>
          </p:nvPr>
        </p:nvSpPr>
        <p:spPr>
          <a:xfrm>
            <a:off x="1345353" y="5504120"/>
            <a:ext cx="10241280" cy="640080"/>
          </a:xfrm>
        </p:spPr>
        <p:txBody>
          <a:bodyPr anchor="ctr">
            <a:noAutofit/>
          </a:bodyPr>
          <a:lstStyle>
            <a:lvl1pPr marL="0" indent="0">
              <a:buNone/>
              <a:defRPr sz="2800" b="1">
                <a:solidFill>
                  <a:schemeClr val="accent2"/>
                </a:solidFill>
                <a:latin typeface="+mn-lt"/>
              </a:defRPr>
            </a:lvl1pPr>
            <a:lvl2pPr>
              <a:buNone/>
              <a:defRPr/>
            </a:lvl2pPr>
            <a:lvl3pPr>
              <a:buNone/>
              <a:defRPr/>
            </a:lvl3pPr>
            <a:lvl4pPr>
              <a:buNone/>
              <a:defRPr/>
            </a:lvl4pPr>
            <a:lvl5pPr>
              <a:buNone/>
              <a:defRPr/>
            </a:lvl5pPr>
          </a:lstStyle>
          <a:p>
            <a:pPr lvl="0"/>
            <a:r>
              <a:rPr lang="en-US" dirty="0" smtClean="0"/>
              <a:t>Insert text here</a:t>
            </a:r>
          </a:p>
        </p:txBody>
      </p:sp>
      <p:sp>
        <p:nvSpPr>
          <p:cNvPr id="28" name="Text Placeholder 38"/>
          <p:cNvSpPr>
            <a:spLocks noGrp="1"/>
          </p:cNvSpPr>
          <p:nvPr>
            <p:ph type="body" sz="quarter" idx="15" hasCustomPrompt="1"/>
          </p:nvPr>
        </p:nvSpPr>
        <p:spPr>
          <a:xfrm>
            <a:off x="613834" y="1345746"/>
            <a:ext cx="469900" cy="668792"/>
          </a:xfrm>
          <a:gradFill flip="none" rotWithShape="1">
            <a:gsLst>
              <a:gs pos="0">
                <a:srgbClr val="00B0F0">
                  <a:shade val="30000"/>
                  <a:satMod val="115000"/>
                </a:srgbClr>
              </a:gs>
              <a:gs pos="50000">
                <a:srgbClr val="00B0F0">
                  <a:shade val="67500"/>
                  <a:satMod val="115000"/>
                </a:srgbClr>
              </a:gs>
              <a:gs pos="100000">
                <a:srgbClr val="00B0F0">
                  <a:shade val="100000"/>
                  <a:satMod val="115000"/>
                </a:srgbClr>
              </a:gs>
            </a:gsLst>
            <a:lin ang="16200000" scaled="1"/>
            <a:tileRect/>
          </a:gradFill>
        </p:spPr>
        <p:txBody>
          <a:bodyPr anchor="ctr">
            <a:normAutofit/>
          </a:bodyPr>
          <a:lstStyle>
            <a:lvl1pPr marL="0" indent="0" algn="ctr">
              <a:buFont typeface="Arial" pitchFamily="34" charset="0"/>
              <a:buNone/>
              <a:defRPr sz="2400" b="1">
                <a:solidFill>
                  <a:schemeClr val="bg1"/>
                </a:solidFill>
                <a:latin typeface="+mn-lt"/>
              </a:defRPr>
            </a:lvl1pPr>
            <a:lvl2pPr>
              <a:buNone/>
              <a:defRPr/>
            </a:lvl2pPr>
            <a:lvl3pPr>
              <a:buNone/>
              <a:defRPr/>
            </a:lvl3pPr>
            <a:lvl4pPr>
              <a:buNone/>
              <a:defRPr/>
            </a:lvl4pPr>
            <a:lvl5pPr>
              <a:buNone/>
              <a:defRPr/>
            </a:lvl5pPr>
          </a:lstStyle>
          <a:p>
            <a:pPr lvl="0"/>
            <a:r>
              <a:rPr lang="en-US" dirty="0" smtClean="0"/>
              <a:t>1</a:t>
            </a:r>
          </a:p>
        </p:txBody>
      </p:sp>
      <p:sp>
        <p:nvSpPr>
          <p:cNvPr id="29" name="Text Placeholder 38"/>
          <p:cNvSpPr>
            <a:spLocks noGrp="1"/>
          </p:cNvSpPr>
          <p:nvPr>
            <p:ph type="body" sz="quarter" idx="16" hasCustomPrompt="1"/>
          </p:nvPr>
        </p:nvSpPr>
        <p:spPr>
          <a:xfrm>
            <a:off x="613834" y="2384085"/>
            <a:ext cx="469900" cy="668792"/>
          </a:xfrm>
          <a:gradFill flip="none" rotWithShape="1">
            <a:gsLst>
              <a:gs pos="0">
                <a:srgbClr val="00B0F0">
                  <a:shade val="30000"/>
                  <a:satMod val="115000"/>
                </a:srgbClr>
              </a:gs>
              <a:gs pos="50000">
                <a:srgbClr val="00B0F0">
                  <a:shade val="67500"/>
                  <a:satMod val="115000"/>
                </a:srgbClr>
              </a:gs>
              <a:gs pos="100000">
                <a:srgbClr val="00B0F0">
                  <a:shade val="100000"/>
                  <a:satMod val="115000"/>
                </a:srgbClr>
              </a:gs>
            </a:gsLst>
            <a:lin ang="16200000" scaled="1"/>
            <a:tileRect/>
          </a:gradFill>
        </p:spPr>
        <p:txBody>
          <a:bodyPr anchor="ctr">
            <a:normAutofit/>
          </a:bodyPr>
          <a:lstStyle>
            <a:lvl1pPr marL="342900" indent="-342900" algn="ctr">
              <a:buFont typeface="Arial" pitchFamily="34" charset="0"/>
              <a:buNone/>
              <a:defRPr lang="en-US" sz="2400" b="1" dirty="0" smtClean="0">
                <a:solidFill>
                  <a:schemeClr val="bg1"/>
                </a:solidFill>
                <a:latin typeface="+mn-lt"/>
              </a:defRPr>
            </a:lvl1pPr>
          </a:lstStyle>
          <a:p>
            <a:pPr marL="0" lvl="0" indent="0" algn="ctr"/>
            <a:r>
              <a:rPr lang="en-US" dirty="0" smtClean="0"/>
              <a:t>2</a:t>
            </a:r>
          </a:p>
        </p:txBody>
      </p:sp>
      <p:sp>
        <p:nvSpPr>
          <p:cNvPr id="30" name="Text Placeholder 38"/>
          <p:cNvSpPr>
            <a:spLocks noGrp="1"/>
          </p:cNvSpPr>
          <p:nvPr>
            <p:ph type="body" sz="quarter" idx="17" hasCustomPrompt="1"/>
          </p:nvPr>
        </p:nvSpPr>
        <p:spPr>
          <a:xfrm>
            <a:off x="613834" y="3422424"/>
            <a:ext cx="469900" cy="668792"/>
          </a:xfrm>
          <a:gradFill flip="none" rotWithShape="1">
            <a:gsLst>
              <a:gs pos="0">
                <a:srgbClr val="00B0F0">
                  <a:shade val="30000"/>
                  <a:satMod val="115000"/>
                </a:srgbClr>
              </a:gs>
              <a:gs pos="50000">
                <a:srgbClr val="00B0F0">
                  <a:shade val="67500"/>
                  <a:satMod val="115000"/>
                </a:srgbClr>
              </a:gs>
              <a:gs pos="100000">
                <a:srgbClr val="00B0F0">
                  <a:shade val="100000"/>
                  <a:satMod val="115000"/>
                </a:srgbClr>
              </a:gs>
            </a:gsLst>
            <a:lin ang="16200000" scaled="1"/>
            <a:tileRect/>
          </a:gradFill>
        </p:spPr>
        <p:txBody>
          <a:bodyPr anchor="ctr">
            <a:normAutofit/>
          </a:bodyPr>
          <a:lstStyle>
            <a:lvl1pPr marL="342900" indent="-342900" algn="ctr">
              <a:buFont typeface="Arial" pitchFamily="34" charset="0"/>
              <a:buNone/>
              <a:defRPr lang="en-US" sz="2400" b="1" dirty="0" smtClean="0">
                <a:solidFill>
                  <a:schemeClr val="bg1"/>
                </a:solidFill>
                <a:latin typeface="+mn-lt"/>
              </a:defRPr>
            </a:lvl1pPr>
          </a:lstStyle>
          <a:p>
            <a:pPr marL="0" lvl="0" indent="0" algn="ctr"/>
            <a:r>
              <a:rPr lang="en-US" dirty="0" smtClean="0"/>
              <a:t>3</a:t>
            </a:r>
          </a:p>
        </p:txBody>
      </p:sp>
      <p:sp>
        <p:nvSpPr>
          <p:cNvPr id="32" name="Text Placeholder 38"/>
          <p:cNvSpPr>
            <a:spLocks noGrp="1"/>
          </p:cNvSpPr>
          <p:nvPr>
            <p:ph type="body" sz="quarter" idx="18" hasCustomPrompt="1"/>
          </p:nvPr>
        </p:nvSpPr>
        <p:spPr>
          <a:xfrm>
            <a:off x="613834" y="4460763"/>
            <a:ext cx="469900" cy="668792"/>
          </a:xfrm>
          <a:gradFill flip="none" rotWithShape="1">
            <a:gsLst>
              <a:gs pos="0">
                <a:srgbClr val="00B0F0">
                  <a:shade val="30000"/>
                  <a:satMod val="115000"/>
                </a:srgbClr>
              </a:gs>
              <a:gs pos="50000">
                <a:srgbClr val="00B0F0">
                  <a:shade val="67500"/>
                  <a:satMod val="115000"/>
                </a:srgbClr>
              </a:gs>
              <a:gs pos="100000">
                <a:srgbClr val="00B0F0">
                  <a:shade val="100000"/>
                  <a:satMod val="115000"/>
                </a:srgbClr>
              </a:gs>
            </a:gsLst>
            <a:lin ang="16200000" scaled="1"/>
            <a:tileRect/>
          </a:gradFill>
        </p:spPr>
        <p:txBody>
          <a:bodyPr anchor="ctr">
            <a:normAutofit/>
          </a:bodyPr>
          <a:lstStyle>
            <a:lvl1pPr marL="342900" indent="-342900" algn="ctr">
              <a:buFont typeface="Arial" pitchFamily="34" charset="0"/>
              <a:buNone/>
              <a:defRPr lang="en-US" sz="2400" b="1" dirty="0" smtClean="0">
                <a:solidFill>
                  <a:schemeClr val="bg1"/>
                </a:solidFill>
                <a:latin typeface="+mn-lt"/>
              </a:defRPr>
            </a:lvl1pPr>
          </a:lstStyle>
          <a:p>
            <a:pPr marL="0" lvl="0" indent="0" algn="ctr"/>
            <a:r>
              <a:rPr lang="en-US" dirty="0" smtClean="0"/>
              <a:t>4</a:t>
            </a:r>
          </a:p>
        </p:txBody>
      </p:sp>
      <p:sp>
        <p:nvSpPr>
          <p:cNvPr id="33" name="Text Placeholder 38"/>
          <p:cNvSpPr>
            <a:spLocks noGrp="1"/>
          </p:cNvSpPr>
          <p:nvPr>
            <p:ph type="body" sz="quarter" idx="19" hasCustomPrompt="1"/>
          </p:nvPr>
        </p:nvSpPr>
        <p:spPr>
          <a:xfrm>
            <a:off x="613834" y="5499100"/>
            <a:ext cx="469900" cy="668792"/>
          </a:xfrm>
          <a:gradFill flip="none" rotWithShape="1">
            <a:gsLst>
              <a:gs pos="0">
                <a:srgbClr val="00B0F0">
                  <a:shade val="30000"/>
                  <a:satMod val="115000"/>
                </a:srgbClr>
              </a:gs>
              <a:gs pos="50000">
                <a:srgbClr val="00B0F0">
                  <a:shade val="67500"/>
                  <a:satMod val="115000"/>
                </a:srgbClr>
              </a:gs>
              <a:gs pos="100000">
                <a:srgbClr val="00B0F0">
                  <a:shade val="100000"/>
                  <a:satMod val="115000"/>
                </a:srgbClr>
              </a:gs>
            </a:gsLst>
            <a:lin ang="16200000" scaled="1"/>
            <a:tileRect/>
          </a:gradFill>
        </p:spPr>
        <p:txBody>
          <a:bodyPr anchor="ctr">
            <a:normAutofit/>
          </a:bodyPr>
          <a:lstStyle>
            <a:lvl1pPr marL="342900" indent="-342900" algn="ctr">
              <a:buFont typeface="Arial" pitchFamily="34" charset="0"/>
              <a:buNone/>
              <a:defRPr lang="en-US" sz="2400" b="1" dirty="0" smtClean="0">
                <a:solidFill>
                  <a:schemeClr val="bg1"/>
                </a:solidFill>
                <a:latin typeface="+mn-lt"/>
              </a:defRPr>
            </a:lvl1pPr>
          </a:lstStyle>
          <a:p>
            <a:pPr marL="0" lvl="0" indent="0" algn="ctr"/>
            <a:r>
              <a:rPr lang="en-US" dirty="0" smtClean="0"/>
              <a:t>5</a:t>
            </a:r>
          </a:p>
        </p:txBody>
      </p:sp>
    </p:spTree>
    <p:extLst>
      <p:ext uri="{BB962C8B-B14F-4D97-AF65-F5344CB8AC3E}">
        <p14:creationId xmlns:p14="http://schemas.microsoft.com/office/powerpoint/2010/main" val="4119248740"/>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cSld name="Full image slide">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0" y="957943"/>
            <a:ext cx="12192000" cy="5486400"/>
          </a:xfrm>
        </p:spPr>
        <p:txBody>
          <a:bodyPr anchor="ctr">
            <a:normAutofit/>
          </a:bodyPr>
          <a:lstStyle>
            <a:lvl1pPr algn="ctr">
              <a:buNone/>
              <a:defRPr sz="5400" baseline="0">
                <a:solidFill>
                  <a:schemeClr val="accent2"/>
                </a:solidFill>
              </a:defRPr>
            </a:lvl1pPr>
          </a:lstStyle>
          <a:p>
            <a:r>
              <a:rPr lang="en-US" dirty="0" smtClean="0"/>
              <a:t>Click Icon to Add Picture</a:t>
            </a:r>
            <a:endParaRPr lang="en-IN" dirty="0"/>
          </a:p>
        </p:txBody>
      </p:sp>
      <p:sp>
        <p:nvSpPr>
          <p:cNvPr id="8" name="Text Placeholder 5"/>
          <p:cNvSpPr>
            <a:spLocks noGrp="1"/>
          </p:cNvSpPr>
          <p:nvPr>
            <p:ph type="body" sz="quarter" idx="11" hasCustomPrompt="1"/>
          </p:nvPr>
        </p:nvSpPr>
        <p:spPr>
          <a:xfrm>
            <a:off x="0" y="4517572"/>
            <a:ext cx="12192000" cy="1110343"/>
          </a:xfrm>
          <a:solidFill>
            <a:schemeClr val="accent2">
              <a:lumMod val="20000"/>
              <a:lumOff val="80000"/>
            </a:schemeClr>
          </a:solidFill>
          <a:ln>
            <a:noFill/>
          </a:ln>
          <a:effectLst/>
          <a:scene3d>
            <a:camera prst="orthographicFront">
              <a:rot lat="0" lon="0" rev="0"/>
            </a:camera>
            <a:lightRig rig="contrasting" dir="t">
              <a:rot lat="0" lon="0" rev="7800000"/>
            </a:lightRig>
          </a:scene3d>
          <a:sp3d>
            <a:bevelT w="139700" h="139700"/>
          </a:sp3d>
        </p:spPr>
        <p:txBody>
          <a:bodyPr anchor="ctr">
            <a:normAutofit/>
          </a:bodyPr>
          <a:lstStyle>
            <a:lvl1pPr algn="ctr">
              <a:buNone/>
              <a:defRPr lang="en-US" sz="1800" b="1" kern="1200" baseline="0" dirty="0" smtClean="0">
                <a:solidFill>
                  <a:schemeClr val="accent2"/>
                </a:solidFill>
                <a:latin typeface="+mj-lt"/>
                <a:ea typeface="+mn-ea"/>
                <a:cs typeface="Arial" pitchFamily="34" charset="0"/>
              </a:defRPr>
            </a:lvl1pPr>
          </a:lstStyle>
          <a:p>
            <a:pPr lvl="0"/>
            <a:r>
              <a:rPr lang="en-US" dirty="0" smtClean="0"/>
              <a:t>Insert Text Here</a:t>
            </a:r>
          </a:p>
        </p:txBody>
      </p:sp>
    </p:spTree>
    <p:extLst>
      <p:ext uri="{BB962C8B-B14F-4D97-AF65-F5344CB8AC3E}">
        <p14:creationId xmlns:p14="http://schemas.microsoft.com/office/powerpoint/2010/main" val="3925118697"/>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Full image slide covering the full area">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0" y="1"/>
            <a:ext cx="12192000" cy="6551407"/>
          </a:xfrm>
        </p:spPr>
        <p:txBody>
          <a:bodyPr anchor="ctr">
            <a:normAutofit/>
          </a:bodyPr>
          <a:lstStyle>
            <a:lvl1pPr algn="ctr">
              <a:buNone/>
              <a:defRPr sz="5400" baseline="0">
                <a:solidFill>
                  <a:schemeClr val="accent2"/>
                </a:solidFill>
              </a:defRPr>
            </a:lvl1pPr>
          </a:lstStyle>
          <a:p>
            <a:r>
              <a:rPr lang="en-US" dirty="0" smtClean="0"/>
              <a:t>Click Icon to Add Picture</a:t>
            </a:r>
            <a:endParaRPr lang="en-IN" dirty="0"/>
          </a:p>
        </p:txBody>
      </p:sp>
    </p:spTree>
    <p:extLst>
      <p:ext uri="{BB962C8B-B14F-4D97-AF65-F5344CB8AC3E}">
        <p14:creationId xmlns:p14="http://schemas.microsoft.com/office/powerpoint/2010/main" val="1138186854"/>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gray">
          <a:xfrm>
            <a:off x="139700" y="2698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dirty="0" smtClean="0"/>
              <a:t>CLICK TO EDIT TITLE</a:t>
            </a:r>
          </a:p>
        </p:txBody>
      </p:sp>
    </p:spTree>
  </p:cSld>
  <p:clrMap bg1="lt1" tx1="dk1" bg2="lt2" tx2="dk2" accent1="accent1" accent2="accent2" accent3="accent3" accent4="accent4" accent5="accent5" accent6="accent6" hlink="hlink" folHlink="folHlink"/>
  <p:sldLayoutIdLst>
    <p:sldLayoutId id="2147484251" r:id="rId1"/>
    <p:sldLayoutId id="2147484253" r:id="rId2"/>
    <p:sldLayoutId id="2147484262" r:id="rId3"/>
    <p:sldLayoutId id="2147484273" r:id="rId4"/>
    <p:sldLayoutId id="2147484275" r:id="rId5"/>
    <p:sldLayoutId id="2147484278" r:id="rId6"/>
    <p:sldLayoutId id="2147484279" r:id="rId7"/>
    <p:sldLayoutId id="2147484282" r:id="rId8"/>
    <p:sldLayoutId id="2147484283" r:id="rId9"/>
    <p:sldLayoutId id="2147484284" r:id="rId10"/>
    <p:sldLayoutId id="2147484285" r:id="rId11"/>
    <p:sldLayoutId id="2147484286" r:id="rId12"/>
    <p:sldLayoutId id="2147484287" r:id="rId13"/>
    <p:sldLayoutId id="2147484288" r:id="rId14"/>
    <p:sldLayoutId id="2147484290" r:id="rId15"/>
    <p:sldLayoutId id="2147484291" r:id="rId16"/>
  </p:sldLayoutIdLst>
  <p:timing>
    <p:tnLst>
      <p:par>
        <p:cTn id="1" dur="indefinite" restart="never" nodeType="tmRoot"/>
      </p:par>
    </p:tnLst>
  </p:timing>
  <p:hf hdr="0" ftr="0" dt="0"/>
  <p:txStyles>
    <p:titleStyle>
      <a:lvl1pPr algn="l" defTabSz="457200" rtl="0" eaLnBrk="1" fontAlgn="base" hangingPunct="1">
        <a:spcBef>
          <a:spcPct val="0"/>
        </a:spcBef>
        <a:spcAft>
          <a:spcPct val="0"/>
        </a:spcAft>
        <a:defRPr sz="4400" b="1" kern="1200">
          <a:solidFill>
            <a:srgbClr val="B42359"/>
          </a:solidFill>
          <a:latin typeface="Arial"/>
          <a:ea typeface="MS PGothic" pitchFamily="34" charset="-128"/>
          <a:cs typeface="Arial"/>
        </a:defRPr>
      </a:lvl1pPr>
      <a:lvl2pPr algn="l" defTabSz="457200" rtl="0" eaLnBrk="1" fontAlgn="base" hangingPunct="1">
        <a:spcBef>
          <a:spcPct val="0"/>
        </a:spcBef>
        <a:spcAft>
          <a:spcPct val="0"/>
        </a:spcAft>
        <a:defRPr sz="4400" b="1">
          <a:solidFill>
            <a:srgbClr val="B42359"/>
          </a:solidFill>
          <a:latin typeface="Arial" charset="0"/>
          <a:ea typeface="MS PGothic" pitchFamily="34" charset="-128"/>
          <a:cs typeface="Arial" charset="0"/>
        </a:defRPr>
      </a:lvl2pPr>
      <a:lvl3pPr algn="l" defTabSz="457200" rtl="0" eaLnBrk="1" fontAlgn="base" hangingPunct="1">
        <a:spcBef>
          <a:spcPct val="0"/>
        </a:spcBef>
        <a:spcAft>
          <a:spcPct val="0"/>
        </a:spcAft>
        <a:defRPr sz="4400" b="1">
          <a:solidFill>
            <a:srgbClr val="B42359"/>
          </a:solidFill>
          <a:latin typeface="Arial" charset="0"/>
          <a:ea typeface="MS PGothic" pitchFamily="34" charset="-128"/>
          <a:cs typeface="Arial" charset="0"/>
        </a:defRPr>
      </a:lvl3pPr>
      <a:lvl4pPr algn="l" defTabSz="457200" rtl="0" eaLnBrk="1" fontAlgn="base" hangingPunct="1">
        <a:spcBef>
          <a:spcPct val="0"/>
        </a:spcBef>
        <a:spcAft>
          <a:spcPct val="0"/>
        </a:spcAft>
        <a:defRPr sz="4400" b="1">
          <a:solidFill>
            <a:srgbClr val="B42359"/>
          </a:solidFill>
          <a:latin typeface="Arial" charset="0"/>
          <a:ea typeface="MS PGothic" pitchFamily="34" charset="-128"/>
          <a:cs typeface="Arial" charset="0"/>
        </a:defRPr>
      </a:lvl4pPr>
      <a:lvl5pPr algn="l" defTabSz="457200" rtl="0" eaLnBrk="1" fontAlgn="base" hangingPunct="1">
        <a:spcBef>
          <a:spcPct val="0"/>
        </a:spcBef>
        <a:spcAft>
          <a:spcPct val="0"/>
        </a:spcAft>
        <a:defRPr sz="4400" b="1">
          <a:solidFill>
            <a:srgbClr val="B42359"/>
          </a:solidFill>
          <a:latin typeface="Arial" charset="0"/>
          <a:ea typeface="MS PGothic" pitchFamily="34" charset="-128"/>
          <a:cs typeface="Arial" charset="0"/>
        </a:defRPr>
      </a:lvl5pPr>
      <a:lvl6pPr marL="457200" algn="l" defTabSz="457200" rtl="0" eaLnBrk="1" fontAlgn="base" hangingPunct="1">
        <a:spcBef>
          <a:spcPct val="0"/>
        </a:spcBef>
        <a:spcAft>
          <a:spcPct val="0"/>
        </a:spcAft>
        <a:defRPr sz="4400">
          <a:solidFill>
            <a:srgbClr val="B42359"/>
          </a:solidFill>
          <a:latin typeface="COUTURE Bold" charset="0"/>
          <a:ea typeface="ＭＳ Ｐゴシック" charset="0"/>
          <a:cs typeface="COUTURE Bold" charset="0"/>
        </a:defRPr>
      </a:lvl6pPr>
      <a:lvl7pPr marL="914400" algn="l" defTabSz="457200" rtl="0" eaLnBrk="1" fontAlgn="base" hangingPunct="1">
        <a:spcBef>
          <a:spcPct val="0"/>
        </a:spcBef>
        <a:spcAft>
          <a:spcPct val="0"/>
        </a:spcAft>
        <a:defRPr sz="4400">
          <a:solidFill>
            <a:srgbClr val="B42359"/>
          </a:solidFill>
          <a:latin typeface="COUTURE Bold" charset="0"/>
          <a:ea typeface="ＭＳ Ｐゴシック" charset="0"/>
          <a:cs typeface="COUTURE Bold" charset="0"/>
        </a:defRPr>
      </a:lvl7pPr>
      <a:lvl8pPr marL="1371600" algn="l" defTabSz="457200" rtl="0" eaLnBrk="1" fontAlgn="base" hangingPunct="1">
        <a:spcBef>
          <a:spcPct val="0"/>
        </a:spcBef>
        <a:spcAft>
          <a:spcPct val="0"/>
        </a:spcAft>
        <a:defRPr sz="4400">
          <a:solidFill>
            <a:srgbClr val="B42359"/>
          </a:solidFill>
          <a:latin typeface="COUTURE Bold" charset="0"/>
          <a:ea typeface="ＭＳ Ｐゴシック" charset="0"/>
          <a:cs typeface="COUTURE Bold" charset="0"/>
        </a:defRPr>
      </a:lvl8pPr>
      <a:lvl9pPr marL="1828800" algn="l" defTabSz="457200" rtl="0" eaLnBrk="1" fontAlgn="base" hangingPunct="1">
        <a:spcBef>
          <a:spcPct val="0"/>
        </a:spcBef>
        <a:spcAft>
          <a:spcPct val="0"/>
        </a:spcAft>
        <a:defRPr sz="4400">
          <a:solidFill>
            <a:srgbClr val="B42359"/>
          </a:solidFill>
          <a:latin typeface="COUTURE Bold" charset="0"/>
          <a:ea typeface="ＭＳ Ｐゴシック" charset="0"/>
          <a:cs typeface="COUTURE Bold" charset="0"/>
        </a:defRPr>
      </a:lvl9pPr>
    </p:titleStyle>
    <p:bodyStyle>
      <a:lvl1pPr marL="342900" indent="-342900" algn="l" defTabSz="457200" rtl="0" eaLnBrk="1" fontAlgn="base" hangingPunct="1">
        <a:spcBef>
          <a:spcPct val="20000"/>
        </a:spcBef>
        <a:spcAft>
          <a:spcPct val="0"/>
        </a:spcAft>
        <a:buFont typeface="Arial" pitchFamily="34" charset="0"/>
        <a:buChar char="•"/>
        <a:defRPr sz="3200" kern="1200">
          <a:solidFill>
            <a:schemeClr val="tx1"/>
          </a:solidFill>
          <a:latin typeface="+mn-lt"/>
          <a:ea typeface="MS PGothic" pitchFamily="34" charset="-128"/>
          <a:cs typeface="MS PGothic" charset="0"/>
        </a:defRPr>
      </a:lvl1pPr>
      <a:lvl2pPr marL="742950" indent="-285750" algn="l" defTabSz="457200" rtl="0" eaLnBrk="1" fontAlgn="base" hangingPunct="1">
        <a:spcBef>
          <a:spcPct val="20000"/>
        </a:spcBef>
        <a:spcAft>
          <a:spcPct val="0"/>
        </a:spcAft>
        <a:buFont typeface="Arial" pitchFamily="34" charset="0"/>
        <a:buChar char="–"/>
        <a:defRPr sz="2800" kern="1200">
          <a:solidFill>
            <a:schemeClr val="tx1"/>
          </a:solidFill>
          <a:latin typeface="+mn-lt"/>
          <a:ea typeface="MS PGothic" pitchFamily="34" charset="-128"/>
          <a:cs typeface="MS PGothic" charset="0"/>
        </a:defRPr>
      </a:lvl2pPr>
      <a:lvl3pPr marL="1143000" indent="-228600" algn="l" defTabSz="457200" rtl="0" eaLnBrk="1" fontAlgn="base" hangingPunct="1">
        <a:spcBef>
          <a:spcPct val="20000"/>
        </a:spcBef>
        <a:spcAft>
          <a:spcPct val="0"/>
        </a:spcAft>
        <a:buFont typeface="Arial" pitchFamily="34" charset="0"/>
        <a:buChar char="•"/>
        <a:defRPr sz="2400" kern="1200">
          <a:solidFill>
            <a:schemeClr val="tx1"/>
          </a:solidFill>
          <a:latin typeface="+mn-lt"/>
          <a:ea typeface="MS PGothic" pitchFamily="34" charset="-128"/>
          <a:cs typeface="MS PGothic" charset="0"/>
        </a:defRPr>
      </a:lvl3pPr>
      <a:lvl4pPr marL="1600200" indent="-228600" algn="l" defTabSz="457200" rtl="0" eaLnBrk="1" fontAlgn="base" hangingPunct="1">
        <a:spcBef>
          <a:spcPct val="20000"/>
        </a:spcBef>
        <a:spcAft>
          <a:spcPct val="0"/>
        </a:spcAft>
        <a:buFont typeface="Arial" pitchFamily="34" charset="0"/>
        <a:buChar char="–"/>
        <a:defRPr sz="2000" kern="1200">
          <a:solidFill>
            <a:schemeClr val="tx1"/>
          </a:solidFill>
          <a:latin typeface="+mn-lt"/>
          <a:ea typeface="MS PGothic" pitchFamily="34" charset="-128"/>
          <a:cs typeface="MS PGothic" charset="0"/>
        </a:defRPr>
      </a:lvl4pPr>
      <a:lvl5pPr marL="2057400" indent="-228600" algn="l" defTabSz="457200" rtl="0" eaLnBrk="1" fontAlgn="base" hangingPunct="1">
        <a:spcBef>
          <a:spcPct val="20000"/>
        </a:spcBef>
        <a:spcAft>
          <a:spcPct val="0"/>
        </a:spcAft>
        <a:buFont typeface="Arial" pitchFamily="34" charset="0"/>
        <a:buChar char="»"/>
        <a:defRPr sz="2000" kern="1200">
          <a:solidFill>
            <a:schemeClr val="tx1"/>
          </a:solidFill>
          <a:latin typeface="+mn-lt"/>
          <a:ea typeface="MS PGothic" pitchFamily="34" charset="-128"/>
          <a:cs typeface="MS PGothic"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hyperlink" Target="https://maven.apache.org/" TargetMode="Externa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2.xml"/><Relationship Id="rId5" Type="http://schemas.openxmlformats.org/officeDocument/2006/relationships/image" Target="../media/image12.png"/><Relationship Id="rId4" Type="http://schemas.openxmlformats.org/officeDocument/2006/relationships/image" Target="../media/image11.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hyperlink" Target="http://maven.apache.org/download.cgi" TargetMode="Externa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2.xml"/><Relationship Id="rId4" Type="http://schemas.openxmlformats.org/officeDocument/2006/relationships/image" Target="../media/image15.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image" Target="../media/image17.png"/><Relationship Id="rId1" Type="http://schemas.openxmlformats.org/officeDocument/2006/relationships/slideLayout" Target="../slideLayouts/slideLayout2.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2.xml"/><Relationship Id="rId4" Type="http://schemas.openxmlformats.org/officeDocument/2006/relationships/image" Target="../media/image25.png"/></Relationships>
</file>

<file path=ppt/slides/_rels/slide34.xml.rels><?xml version="1.0" encoding="UTF-8" standalone="yes"?>
<Relationships xmlns="http://schemas.openxmlformats.org/package/2006/relationships"><Relationship Id="rId3" Type="http://schemas.openxmlformats.org/officeDocument/2006/relationships/image" Target="../media/image18.png"/><Relationship Id="rId7" Type="http://schemas.openxmlformats.org/officeDocument/2006/relationships/image" Target="../media/image27.png"/><Relationship Id="rId2" Type="http://schemas.openxmlformats.org/officeDocument/2006/relationships/image" Target="../media/image17.png"/><Relationship Id="rId1" Type="http://schemas.openxmlformats.org/officeDocument/2006/relationships/slideLayout" Target="../slideLayouts/slideLayout2.xml"/><Relationship Id="rId6" Type="http://schemas.openxmlformats.org/officeDocument/2006/relationships/image" Target="../media/image26.png"/><Relationship Id="rId5" Type="http://schemas.openxmlformats.org/officeDocument/2006/relationships/image" Target="../media/image20.png"/><Relationship Id="rId4" Type="http://schemas.openxmlformats.org/officeDocument/2006/relationships/image" Target="../media/image19.png"/></Relationships>
</file>

<file path=ppt/slides/_rels/slide3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hyperlink" Target="https://maven.apache.org/plugins/maven-compiler-plugin/testCompile-mojo.html" TargetMode="Externa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hyperlink" Target="https://maven.apache.org/guides/introduction/introduction-to-archetypes.html" TargetMode="Externa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hyperlink" Target="http://maven.apache.org/guides/introduction/introduction-to-the-lifecycle.html" TargetMode="Externa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hyperlink" Target="http://www.javaworld.com/javaworld/jw-12-2008/images/CIOverview.jpg" TargetMode="External"/><Relationship Id="rId2" Type="http://schemas.openxmlformats.org/officeDocument/2006/relationships/image" Target="../media/image5.jpg"/><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hyperlink" Target="https://www.cs.colorado.edu/~kena/classes/5828/s12/presentation-materials/bowesjesse.pdf" TargetMode="Externa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22710" y="1978434"/>
            <a:ext cx="8005762" cy="861774"/>
          </a:xfrm>
        </p:spPr>
        <p:txBody>
          <a:bodyPr/>
          <a:lstStyle/>
          <a:p>
            <a:r>
              <a:rPr lang="en-IN" dirty="0" smtClean="0"/>
              <a:t>Maven</a:t>
            </a:r>
            <a:br>
              <a:rPr lang="en-IN" dirty="0" smtClean="0"/>
            </a:br>
            <a:endParaRPr lang="en-IN" dirty="0"/>
          </a:p>
        </p:txBody>
      </p:sp>
      <p:sp>
        <p:nvSpPr>
          <p:cNvPr id="3" name="Subtitle 2"/>
          <p:cNvSpPr>
            <a:spLocks noGrp="1"/>
          </p:cNvSpPr>
          <p:nvPr>
            <p:ph type="subTitle" idx="4294967295"/>
          </p:nvPr>
        </p:nvSpPr>
        <p:spPr>
          <a:xfrm>
            <a:off x="0" y="5366327"/>
            <a:ext cx="8094663" cy="1376218"/>
          </a:xfrm>
          <a:prstGeom prst="rect">
            <a:avLst/>
          </a:prstGeom>
        </p:spPr>
        <p:txBody>
          <a:bodyPr/>
          <a:lstStyle/>
          <a:p>
            <a:r>
              <a:rPr lang="en-IN" dirty="0" smtClean="0"/>
              <a:t>Date : 26/09/2019</a:t>
            </a:r>
          </a:p>
          <a:p>
            <a:r>
              <a:rPr lang="en-IN" dirty="0" smtClean="0"/>
              <a:t>Author : Karthik Sivakumar</a:t>
            </a:r>
            <a:endParaRPr lang="en-IN" dirty="0"/>
          </a:p>
        </p:txBody>
      </p:sp>
    </p:spTree>
    <p:extLst>
      <p:ext uri="{BB962C8B-B14F-4D97-AF65-F5344CB8AC3E}">
        <p14:creationId xmlns:p14="http://schemas.microsoft.com/office/powerpoint/2010/main" val="378367013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object 8"/>
          <p:cNvSpPr txBox="1"/>
          <p:nvPr/>
        </p:nvSpPr>
        <p:spPr>
          <a:xfrm>
            <a:off x="6382610" y="1735245"/>
            <a:ext cx="5654040" cy="755762"/>
          </a:xfrm>
          <a:prstGeom prst="rect">
            <a:avLst/>
          </a:prstGeom>
        </p:spPr>
        <p:txBody>
          <a:bodyPr vert="horz" wrap="square" lIns="0" tIns="16933" rIns="0" bIns="0" rtlCol="0">
            <a:spAutoFit/>
          </a:bodyPr>
          <a:lstStyle/>
          <a:p>
            <a:pPr marL="16933">
              <a:spcBef>
                <a:spcPts val="133"/>
              </a:spcBef>
            </a:pPr>
            <a:r>
              <a:rPr sz="4800" b="1" u="heavy" dirty="0">
                <a:solidFill>
                  <a:srgbClr val="0D356F"/>
                </a:solidFill>
                <a:uFill>
                  <a:solidFill>
                    <a:srgbClr val="0D356F"/>
                  </a:solidFill>
                </a:uFill>
                <a:latin typeface="Arial"/>
                <a:cs typeface="Arial"/>
              </a:rPr>
              <a:t>Maven</a:t>
            </a:r>
            <a:r>
              <a:rPr sz="4800" b="1" u="heavy" spc="-80" dirty="0">
                <a:solidFill>
                  <a:srgbClr val="0D356F"/>
                </a:solidFill>
                <a:uFill>
                  <a:solidFill>
                    <a:srgbClr val="0D356F"/>
                  </a:solidFill>
                </a:uFill>
                <a:latin typeface="Arial"/>
                <a:cs typeface="Arial"/>
              </a:rPr>
              <a:t> </a:t>
            </a:r>
            <a:r>
              <a:rPr sz="4800" b="1" u="heavy" spc="-7" dirty="0">
                <a:solidFill>
                  <a:srgbClr val="0D356F"/>
                </a:solidFill>
                <a:uFill>
                  <a:solidFill>
                    <a:srgbClr val="0D356F"/>
                  </a:solidFill>
                </a:uFill>
                <a:latin typeface="Arial"/>
                <a:cs typeface="Arial"/>
              </a:rPr>
              <a:t>Introduction</a:t>
            </a:r>
            <a:endParaRPr sz="4800" dirty="0">
              <a:latin typeface="Arial"/>
              <a:cs typeface="Arial"/>
            </a:endParaRPr>
          </a:p>
        </p:txBody>
      </p:sp>
      <p:sp>
        <p:nvSpPr>
          <p:cNvPr id="9" name="object 9"/>
          <p:cNvSpPr txBox="1"/>
          <p:nvPr/>
        </p:nvSpPr>
        <p:spPr>
          <a:xfrm flipH="1">
            <a:off x="7970981" y="2918691"/>
            <a:ext cx="3687276" cy="386430"/>
          </a:xfrm>
          <a:prstGeom prst="rect">
            <a:avLst/>
          </a:prstGeom>
        </p:spPr>
        <p:txBody>
          <a:bodyPr vert="horz" wrap="square" lIns="0" tIns="16933" rIns="0" bIns="0" rtlCol="0">
            <a:spAutoFit/>
          </a:bodyPr>
          <a:lstStyle/>
          <a:p>
            <a:pPr marL="16933">
              <a:spcBef>
                <a:spcPts val="133"/>
              </a:spcBef>
            </a:pPr>
            <a:r>
              <a:rPr sz="2400" spc="-7" dirty="0">
                <a:solidFill>
                  <a:srgbClr val="4D4E5C"/>
                </a:solidFill>
                <a:latin typeface="Arial"/>
                <a:cs typeface="Arial"/>
              </a:rPr>
              <a:t>Overview </a:t>
            </a:r>
            <a:r>
              <a:rPr sz="2400" dirty="0">
                <a:solidFill>
                  <a:srgbClr val="4D4E5C"/>
                </a:solidFill>
                <a:latin typeface="Arial"/>
                <a:cs typeface="Arial"/>
              </a:rPr>
              <a:t>&amp;</a:t>
            </a:r>
            <a:r>
              <a:rPr sz="2400" spc="-60" dirty="0">
                <a:solidFill>
                  <a:srgbClr val="4D4E5C"/>
                </a:solidFill>
                <a:latin typeface="Arial"/>
                <a:cs typeface="Arial"/>
              </a:rPr>
              <a:t> </a:t>
            </a:r>
            <a:r>
              <a:rPr sz="2400" spc="-7" dirty="0">
                <a:solidFill>
                  <a:srgbClr val="4D4E5C"/>
                </a:solidFill>
                <a:latin typeface="Arial"/>
                <a:cs typeface="Arial"/>
              </a:rPr>
              <a:t>Features</a:t>
            </a:r>
            <a:endParaRPr sz="2400" dirty="0">
              <a:latin typeface="Arial"/>
              <a:cs typeface="Arial"/>
            </a:endParaRPr>
          </a:p>
        </p:txBody>
      </p:sp>
    </p:spTree>
    <p:extLst>
      <p:ext uri="{BB962C8B-B14F-4D97-AF65-F5344CB8AC3E}">
        <p14:creationId xmlns:p14="http://schemas.microsoft.com/office/powerpoint/2010/main" val="236502944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330036" y="307001"/>
            <a:ext cx="6493740" cy="479618"/>
          </a:xfrm>
          <a:prstGeom prst="rect">
            <a:avLst/>
          </a:prstGeom>
        </p:spPr>
        <p:txBody>
          <a:bodyPr vert="horz" wrap="square" lIns="0" tIns="17780" rIns="0" bIns="0" numCol="1" rtlCol="0" anchor="t" anchorCtr="0" compatLnSpc="1">
            <a:prstTxWarp prst="textNoShape">
              <a:avLst/>
            </a:prstTxWarp>
            <a:spAutoFit/>
          </a:bodyPr>
          <a:lstStyle/>
          <a:p>
            <a:pPr marL="16933">
              <a:spcBef>
                <a:spcPts val="140"/>
              </a:spcBef>
            </a:pPr>
            <a:r>
              <a:rPr dirty="0"/>
              <a:t>Challenges </a:t>
            </a:r>
            <a:r>
              <a:rPr spc="7" dirty="0"/>
              <a:t>while </a:t>
            </a:r>
            <a:r>
              <a:rPr dirty="0"/>
              <a:t>Building a</a:t>
            </a:r>
            <a:r>
              <a:rPr spc="-140" dirty="0"/>
              <a:t> </a:t>
            </a:r>
            <a:r>
              <a:rPr dirty="0"/>
              <a:t>Project</a:t>
            </a:r>
          </a:p>
        </p:txBody>
      </p:sp>
      <p:sp>
        <p:nvSpPr>
          <p:cNvPr id="3" name="object 3"/>
          <p:cNvSpPr txBox="1"/>
          <p:nvPr/>
        </p:nvSpPr>
        <p:spPr>
          <a:xfrm>
            <a:off x="284208" y="994155"/>
            <a:ext cx="11252200" cy="4586256"/>
          </a:xfrm>
          <a:prstGeom prst="rect">
            <a:avLst/>
          </a:prstGeom>
        </p:spPr>
        <p:txBody>
          <a:bodyPr vert="horz" wrap="square" lIns="0" tIns="17780" rIns="0" bIns="0" rtlCol="0">
            <a:spAutoFit/>
          </a:bodyPr>
          <a:lstStyle/>
          <a:p>
            <a:pPr marL="325112" indent="-308179">
              <a:spcBef>
                <a:spcPts val="140"/>
              </a:spcBef>
              <a:buClr>
                <a:srgbClr val="00AFEF"/>
              </a:buClr>
              <a:buFont typeface="Wingdings"/>
              <a:buChar char=""/>
              <a:tabLst>
                <a:tab pos="325959" algn="l"/>
              </a:tabLst>
            </a:pPr>
            <a:r>
              <a:rPr sz="2667" b="1" dirty="0">
                <a:solidFill>
                  <a:srgbClr val="4D4E5C"/>
                </a:solidFill>
                <a:latin typeface="Arial"/>
                <a:cs typeface="Arial"/>
              </a:rPr>
              <a:t>Lack of Uniform directory Structure</a:t>
            </a:r>
            <a:r>
              <a:rPr sz="2667" dirty="0">
                <a:solidFill>
                  <a:srgbClr val="4D4E5C"/>
                </a:solidFill>
                <a:latin typeface="Arial"/>
                <a:cs typeface="Arial"/>
              </a:rPr>
              <a:t>: The </a:t>
            </a:r>
            <a:r>
              <a:rPr sz="2667" spc="-7" dirty="0">
                <a:solidFill>
                  <a:srgbClr val="4D4E5C"/>
                </a:solidFill>
                <a:latin typeface="Arial"/>
                <a:cs typeface="Arial"/>
              </a:rPr>
              <a:t>team </a:t>
            </a:r>
            <a:r>
              <a:rPr sz="2667" dirty="0">
                <a:solidFill>
                  <a:srgbClr val="4D4E5C"/>
                </a:solidFill>
                <a:latin typeface="Arial"/>
                <a:cs typeface="Arial"/>
              </a:rPr>
              <a:t>needs a</a:t>
            </a:r>
            <a:r>
              <a:rPr sz="2667" spc="-280" dirty="0">
                <a:solidFill>
                  <a:srgbClr val="4D4E5C"/>
                </a:solidFill>
                <a:latin typeface="Arial"/>
                <a:cs typeface="Arial"/>
              </a:rPr>
              <a:t> </a:t>
            </a:r>
            <a:r>
              <a:rPr sz="2667" dirty="0">
                <a:solidFill>
                  <a:srgbClr val="4D4E5C"/>
                </a:solidFill>
                <a:latin typeface="Arial"/>
                <a:cs typeface="Arial"/>
              </a:rPr>
              <a:t>uniform</a:t>
            </a:r>
            <a:endParaRPr sz="2667">
              <a:latin typeface="Arial"/>
              <a:cs typeface="Arial"/>
            </a:endParaRPr>
          </a:p>
          <a:p>
            <a:pPr marL="325112"/>
            <a:r>
              <a:rPr sz="2667" dirty="0">
                <a:solidFill>
                  <a:srgbClr val="4D4E5C"/>
                </a:solidFill>
                <a:latin typeface="Arial"/>
                <a:cs typeface="Arial"/>
              </a:rPr>
              <a:t>directory structure of the Project while working in a</a:t>
            </a:r>
            <a:r>
              <a:rPr sz="2667" spc="-267" dirty="0">
                <a:solidFill>
                  <a:srgbClr val="4D4E5C"/>
                </a:solidFill>
                <a:latin typeface="Arial"/>
                <a:cs typeface="Arial"/>
              </a:rPr>
              <a:t> </a:t>
            </a:r>
            <a:r>
              <a:rPr sz="2667" dirty="0">
                <a:solidFill>
                  <a:srgbClr val="4D4E5C"/>
                </a:solidFill>
                <a:latin typeface="Arial"/>
                <a:cs typeface="Arial"/>
              </a:rPr>
              <a:t>project</a:t>
            </a:r>
            <a:endParaRPr sz="2667">
              <a:latin typeface="Arial"/>
              <a:cs typeface="Arial"/>
            </a:endParaRPr>
          </a:p>
          <a:p>
            <a:pPr>
              <a:spcBef>
                <a:spcPts val="47"/>
              </a:spcBef>
            </a:pPr>
            <a:endParaRPr sz="4133">
              <a:latin typeface="Times New Roman"/>
              <a:cs typeface="Times New Roman"/>
            </a:endParaRPr>
          </a:p>
          <a:p>
            <a:pPr marL="325112" marR="6773" indent="-308179">
              <a:buClr>
                <a:srgbClr val="00AFEF"/>
              </a:buClr>
              <a:buFont typeface="Wingdings"/>
              <a:buChar char=""/>
              <a:tabLst>
                <a:tab pos="325959" algn="l"/>
              </a:tabLst>
            </a:pPr>
            <a:r>
              <a:rPr sz="2667" b="1" spc="-67" dirty="0">
                <a:solidFill>
                  <a:srgbClr val="4D4E5C"/>
                </a:solidFill>
                <a:latin typeface="Arial"/>
                <a:cs typeface="Arial"/>
              </a:rPr>
              <a:t>Too </a:t>
            </a:r>
            <a:r>
              <a:rPr sz="2667" b="1" spc="-7" dirty="0">
                <a:solidFill>
                  <a:srgbClr val="4D4E5C"/>
                </a:solidFill>
                <a:latin typeface="Arial"/>
                <a:cs typeface="Arial"/>
              </a:rPr>
              <a:t>many </a:t>
            </a:r>
            <a:r>
              <a:rPr sz="2667" b="1" dirty="0">
                <a:solidFill>
                  <a:srgbClr val="4D4E5C"/>
                </a:solidFill>
                <a:latin typeface="Arial"/>
                <a:cs typeface="Arial"/>
              </a:rPr>
              <a:t>dependencies on Jar file: </a:t>
            </a:r>
            <a:r>
              <a:rPr sz="2667" dirty="0">
                <a:solidFill>
                  <a:srgbClr val="4D4E5C"/>
                </a:solidFill>
                <a:latin typeface="Arial"/>
                <a:cs typeface="Arial"/>
              </a:rPr>
              <a:t>During integration injecting</a:t>
            </a:r>
            <a:r>
              <a:rPr sz="2667" spc="-80" dirty="0">
                <a:solidFill>
                  <a:srgbClr val="4D4E5C"/>
                </a:solidFill>
                <a:latin typeface="Arial"/>
                <a:cs typeface="Arial"/>
              </a:rPr>
              <a:t> </a:t>
            </a:r>
            <a:r>
              <a:rPr sz="2667" dirty="0">
                <a:solidFill>
                  <a:srgbClr val="4D4E5C"/>
                </a:solidFill>
                <a:latin typeface="Arial"/>
                <a:cs typeface="Arial"/>
              </a:rPr>
              <a:t>proper  dependency and jar files would always be a challenge as it is </a:t>
            </a:r>
            <a:r>
              <a:rPr sz="2667" spc="-13" dirty="0">
                <a:solidFill>
                  <a:srgbClr val="4D4E5C"/>
                </a:solidFill>
                <a:latin typeface="Arial"/>
                <a:cs typeface="Arial"/>
              </a:rPr>
              <a:t>difficult </a:t>
            </a:r>
            <a:r>
              <a:rPr sz="2667" spc="-7" dirty="0">
                <a:solidFill>
                  <a:srgbClr val="4D4E5C"/>
                </a:solidFill>
                <a:latin typeface="Arial"/>
                <a:cs typeface="Arial"/>
              </a:rPr>
              <a:t>to  </a:t>
            </a:r>
            <a:r>
              <a:rPr sz="2667" dirty="0">
                <a:solidFill>
                  <a:srgbClr val="4D4E5C"/>
                </a:solidFill>
                <a:latin typeface="Arial"/>
                <a:cs typeface="Arial"/>
              </a:rPr>
              <a:t>assess transitive dependency at first</a:t>
            </a:r>
            <a:r>
              <a:rPr sz="2667" spc="-213" dirty="0">
                <a:solidFill>
                  <a:srgbClr val="4D4E5C"/>
                </a:solidFill>
                <a:latin typeface="Arial"/>
                <a:cs typeface="Arial"/>
              </a:rPr>
              <a:t> </a:t>
            </a:r>
            <a:r>
              <a:rPr sz="2667" dirty="0">
                <a:solidFill>
                  <a:srgbClr val="4D4E5C"/>
                </a:solidFill>
                <a:latin typeface="Arial"/>
                <a:cs typeface="Arial"/>
              </a:rPr>
              <a:t>place.</a:t>
            </a:r>
            <a:endParaRPr sz="2667">
              <a:latin typeface="Arial"/>
              <a:cs typeface="Arial"/>
            </a:endParaRPr>
          </a:p>
          <a:p>
            <a:pPr>
              <a:spcBef>
                <a:spcPts val="53"/>
              </a:spcBef>
              <a:buClr>
                <a:srgbClr val="00AFEF"/>
              </a:buClr>
              <a:buFont typeface="Wingdings"/>
              <a:buChar char=""/>
            </a:pPr>
            <a:endParaRPr sz="4133">
              <a:latin typeface="Times New Roman"/>
              <a:cs typeface="Times New Roman"/>
            </a:endParaRPr>
          </a:p>
          <a:p>
            <a:pPr marL="325112" marR="398770" indent="-308179">
              <a:buClr>
                <a:srgbClr val="00AFEF"/>
              </a:buClr>
              <a:buFont typeface="Wingdings"/>
              <a:buChar char=""/>
              <a:tabLst>
                <a:tab pos="325959" algn="l"/>
              </a:tabLst>
            </a:pPr>
            <a:r>
              <a:rPr sz="2667" b="1" dirty="0">
                <a:solidFill>
                  <a:srgbClr val="4D4E5C"/>
                </a:solidFill>
                <a:latin typeface="Arial"/>
                <a:cs typeface="Arial"/>
              </a:rPr>
              <a:t>Building and </a:t>
            </a:r>
            <a:r>
              <a:rPr sz="2667" b="1" spc="-7" dirty="0">
                <a:solidFill>
                  <a:srgbClr val="4D4E5C"/>
                </a:solidFill>
                <a:latin typeface="Arial"/>
                <a:cs typeface="Arial"/>
              </a:rPr>
              <a:t>deploying </a:t>
            </a:r>
            <a:r>
              <a:rPr sz="2667" b="1" dirty="0">
                <a:solidFill>
                  <a:srgbClr val="4D4E5C"/>
                </a:solidFill>
                <a:latin typeface="Arial"/>
                <a:cs typeface="Arial"/>
              </a:rPr>
              <a:t>Project: </a:t>
            </a:r>
            <a:r>
              <a:rPr sz="2667" spc="-7" dirty="0">
                <a:solidFill>
                  <a:srgbClr val="4D4E5C"/>
                </a:solidFill>
                <a:latin typeface="Arial"/>
                <a:cs typeface="Arial"/>
              </a:rPr>
              <a:t>Even </a:t>
            </a:r>
            <a:r>
              <a:rPr sz="2667" dirty="0">
                <a:solidFill>
                  <a:srgbClr val="4D4E5C"/>
                </a:solidFill>
                <a:latin typeface="Arial"/>
                <a:cs typeface="Arial"/>
              </a:rPr>
              <a:t>though build </a:t>
            </a:r>
            <a:r>
              <a:rPr sz="2667" spc="-7" dirty="0">
                <a:solidFill>
                  <a:srgbClr val="4D4E5C"/>
                </a:solidFill>
                <a:latin typeface="Arial"/>
                <a:cs typeface="Arial"/>
              </a:rPr>
              <a:t>tools </a:t>
            </a:r>
            <a:r>
              <a:rPr sz="2667" dirty="0">
                <a:solidFill>
                  <a:srgbClr val="4D4E5C"/>
                </a:solidFill>
                <a:latin typeface="Arial"/>
                <a:cs typeface="Arial"/>
              </a:rPr>
              <a:t>like ant</a:t>
            </a:r>
            <a:r>
              <a:rPr sz="2667" spc="-87" dirty="0">
                <a:solidFill>
                  <a:srgbClr val="4D4E5C"/>
                </a:solidFill>
                <a:latin typeface="Arial"/>
                <a:cs typeface="Arial"/>
              </a:rPr>
              <a:t> </a:t>
            </a:r>
            <a:r>
              <a:rPr sz="2667" dirty="0">
                <a:solidFill>
                  <a:srgbClr val="4D4E5C"/>
                </a:solidFill>
                <a:latin typeface="Arial"/>
                <a:cs typeface="Arial"/>
              </a:rPr>
              <a:t>can  solve this problem in a limited </a:t>
            </a:r>
            <a:r>
              <a:rPr sz="2667" spc="-47" dirty="0">
                <a:solidFill>
                  <a:srgbClr val="4D4E5C"/>
                </a:solidFill>
                <a:latin typeface="Arial"/>
                <a:cs typeface="Arial"/>
              </a:rPr>
              <a:t>way, </a:t>
            </a:r>
            <a:r>
              <a:rPr sz="2667" dirty="0">
                <a:solidFill>
                  <a:srgbClr val="4D4E5C"/>
                </a:solidFill>
                <a:latin typeface="Arial"/>
                <a:cs typeface="Arial"/>
              </a:rPr>
              <a:t>a proper </a:t>
            </a:r>
            <a:r>
              <a:rPr sz="2667" spc="-7" dirty="0">
                <a:solidFill>
                  <a:srgbClr val="4D4E5C"/>
                </a:solidFill>
                <a:latin typeface="Arial"/>
                <a:cs typeface="Arial"/>
              </a:rPr>
              <a:t>life </a:t>
            </a:r>
            <a:r>
              <a:rPr sz="2667" dirty="0">
                <a:solidFill>
                  <a:srgbClr val="4D4E5C"/>
                </a:solidFill>
                <a:latin typeface="Arial"/>
                <a:cs typeface="Arial"/>
              </a:rPr>
              <a:t>cycle management of  Build has been the need of the</a:t>
            </a:r>
            <a:r>
              <a:rPr sz="2667" spc="-160" dirty="0">
                <a:solidFill>
                  <a:srgbClr val="4D4E5C"/>
                </a:solidFill>
                <a:latin typeface="Arial"/>
                <a:cs typeface="Arial"/>
              </a:rPr>
              <a:t> </a:t>
            </a:r>
            <a:r>
              <a:rPr sz="2667" spc="-27" dirty="0">
                <a:solidFill>
                  <a:srgbClr val="4D4E5C"/>
                </a:solidFill>
                <a:latin typeface="Arial"/>
                <a:cs typeface="Arial"/>
              </a:rPr>
              <a:t>hour.</a:t>
            </a:r>
            <a:endParaRPr sz="2667">
              <a:latin typeface="Arial"/>
              <a:cs typeface="Arial"/>
            </a:endParaRPr>
          </a:p>
        </p:txBody>
      </p:sp>
    </p:spTree>
    <p:extLst>
      <p:ext uri="{BB962C8B-B14F-4D97-AF65-F5344CB8AC3E}">
        <p14:creationId xmlns:p14="http://schemas.microsoft.com/office/powerpoint/2010/main" val="32173712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200726" y="307001"/>
            <a:ext cx="3038765" cy="479618"/>
          </a:xfrm>
          <a:prstGeom prst="rect">
            <a:avLst/>
          </a:prstGeom>
        </p:spPr>
        <p:txBody>
          <a:bodyPr vert="horz" wrap="square" lIns="0" tIns="17780" rIns="0" bIns="0" numCol="1" rtlCol="0" anchor="t" anchorCtr="0" compatLnSpc="1">
            <a:prstTxWarp prst="textNoShape">
              <a:avLst/>
            </a:prstTxWarp>
            <a:spAutoFit/>
          </a:bodyPr>
          <a:lstStyle/>
          <a:p>
            <a:pPr marL="16933">
              <a:spcBef>
                <a:spcPts val="140"/>
              </a:spcBef>
            </a:pPr>
            <a:r>
              <a:rPr dirty="0"/>
              <a:t>Obje</a:t>
            </a:r>
            <a:r>
              <a:rPr spc="7" dirty="0"/>
              <a:t>c</a:t>
            </a:r>
            <a:r>
              <a:rPr dirty="0"/>
              <a:t>tives</a:t>
            </a:r>
          </a:p>
        </p:txBody>
      </p:sp>
      <p:sp>
        <p:nvSpPr>
          <p:cNvPr id="3" name="object 3"/>
          <p:cNvSpPr txBox="1"/>
          <p:nvPr/>
        </p:nvSpPr>
        <p:spPr>
          <a:xfrm>
            <a:off x="284209" y="892860"/>
            <a:ext cx="10518140" cy="2479632"/>
          </a:xfrm>
          <a:prstGeom prst="rect">
            <a:avLst/>
          </a:prstGeom>
        </p:spPr>
        <p:txBody>
          <a:bodyPr vert="horz" wrap="square" lIns="0" tIns="118533" rIns="0" bIns="0" rtlCol="0">
            <a:spAutoFit/>
          </a:bodyPr>
          <a:lstStyle/>
          <a:p>
            <a:pPr marL="325112" indent="-308179">
              <a:spcBef>
                <a:spcPts val="933"/>
              </a:spcBef>
              <a:buClr>
                <a:srgbClr val="00AFEF"/>
              </a:buClr>
              <a:buFont typeface="Wingdings"/>
              <a:buChar char=""/>
              <a:tabLst>
                <a:tab pos="325959" algn="l"/>
              </a:tabLst>
            </a:pPr>
            <a:r>
              <a:rPr sz="2667" dirty="0">
                <a:solidFill>
                  <a:srgbClr val="4D4E5C"/>
                </a:solidFill>
                <a:latin typeface="Arial"/>
                <a:cs typeface="Arial"/>
              </a:rPr>
              <a:t>Understand the challenges of Project Development</a:t>
            </a:r>
            <a:r>
              <a:rPr sz="2667" spc="-227" dirty="0">
                <a:solidFill>
                  <a:srgbClr val="4D4E5C"/>
                </a:solidFill>
                <a:latin typeface="Arial"/>
                <a:cs typeface="Arial"/>
              </a:rPr>
              <a:t> </a:t>
            </a:r>
            <a:r>
              <a:rPr sz="2667" dirty="0">
                <a:solidFill>
                  <a:srgbClr val="4D4E5C"/>
                </a:solidFill>
                <a:latin typeface="Arial"/>
                <a:cs typeface="Arial"/>
              </a:rPr>
              <a:t>Build</a:t>
            </a:r>
            <a:endParaRPr sz="2667">
              <a:latin typeface="Arial"/>
              <a:cs typeface="Arial"/>
            </a:endParaRPr>
          </a:p>
          <a:p>
            <a:pPr marL="325112" marR="6773" indent="-308179">
              <a:spcBef>
                <a:spcPts val="807"/>
              </a:spcBef>
              <a:buClr>
                <a:srgbClr val="00AFEF"/>
              </a:buClr>
              <a:buFont typeface="Wingdings"/>
              <a:buChar char=""/>
              <a:tabLst>
                <a:tab pos="325959" algn="l"/>
              </a:tabLst>
            </a:pPr>
            <a:r>
              <a:rPr sz="2667" dirty="0">
                <a:solidFill>
                  <a:srgbClr val="4D4E5C"/>
                </a:solidFill>
                <a:latin typeface="Arial"/>
                <a:cs typeface="Arial"/>
              </a:rPr>
              <a:t>Recognize the need of a tool to automate build process &amp;</a:t>
            </a:r>
            <a:r>
              <a:rPr sz="2667" spc="-280" dirty="0">
                <a:solidFill>
                  <a:srgbClr val="4D4E5C"/>
                </a:solidFill>
                <a:latin typeface="Arial"/>
                <a:cs typeface="Arial"/>
              </a:rPr>
              <a:t> </a:t>
            </a:r>
            <a:r>
              <a:rPr sz="2667" dirty="0">
                <a:solidFill>
                  <a:srgbClr val="4D4E5C"/>
                </a:solidFill>
                <a:latin typeface="Arial"/>
                <a:cs typeface="Arial"/>
              </a:rPr>
              <a:t>Managing  projects</a:t>
            </a:r>
            <a:endParaRPr sz="2667">
              <a:latin typeface="Arial"/>
              <a:cs typeface="Arial"/>
            </a:endParaRPr>
          </a:p>
          <a:p>
            <a:pPr marL="325112" indent="-308179">
              <a:spcBef>
                <a:spcPts val="800"/>
              </a:spcBef>
              <a:buClr>
                <a:srgbClr val="00AFEF"/>
              </a:buClr>
              <a:buFont typeface="Wingdings"/>
              <a:buChar char=""/>
              <a:tabLst>
                <a:tab pos="325959" algn="l"/>
              </a:tabLst>
            </a:pPr>
            <a:r>
              <a:rPr sz="2667" dirty="0">
                <a:solidFill>
                  <a:srgbClr val="4D4E5C"/>
                </a:solidFill>
                <a:latin typeface="Arial"/>
                <a:cs typeface="Arial"/>
              </a:rPr>
              <a:t>Configure Maven and check the set</a:t>
            </a:r>
            <a:r>
              <a:rPr sz="2667" spc="-193" dirty="0">
                <a:solidFill>
                  <a:srgbClr val="4D4E5C"/>
                </a:solidFill>
                <a:latin typeface="Arial"/>
                <a:cs typeface="Arial"/>
              </a:rPr>
              <a:t> </a:t>
            </a:r>
            <a:r>
              <a:rPr sz="2667" dirty="0">
                <a:solidFill>
                  <a:srgbClr val="4D4E5C"/>
                </a:solidFill>
                <a:latin typeface="Arial"/>
                <a:cs typeface="Arial"/>
              </a:rPr>
              <a:t>up</a:t>
            </a:r>
            <a:endParaRPr sz="2667">
              <a:latin typeface="Arial"/>
              <a:cs typeface="Arial"/>
            </a:endParaRPr>
          </a:p>
          <a:p>
            <a:pPr marL="325112" indent="-308179">
              <a:spcBef>
                <a:spcPts val="800"/>
              </a:spcBef>
              <a:buClr>
                <a:srgbClr val="00AFEF"/>
              </a:buClr>
              <a:buFont typeface="Wingdings"/>
              <a:buChar char=""/>
              <a:tabLst>
                <a:tab pos="325959" algn="l"/>
              </a:tabLst>
            </a:pPr>
            <a:r>
              <a:rPr sz="2667" dirty="0">
                <a:solidFill>
                  <a:srgbClr val="4D4E5C"/>
                </a:solidFill>
                <a:latin typeface="Arial"/>
                <a:cs typeface="Arial"/>
              </a:rPr>
              <a:t>Describe the features of</a:t>
            </a:r>
            <a:r>
              <a:rPr sz="2667" spc="-140" dirty="0">
                <a:solidFill>
                  <a:srgbClr val="4D4E5C"/>
                </a:solidFill>
                <a:latin typeface="Arial"/>
                <a:cs typeface="Arial"/>
              </a:rPr>
              <a:t> </a:t>
            </a:r>
            <a:r>
              <a:rPr sz="2667" dirty="0">
                <a:solidFill>
                  <a:srgbClr val="4D4E5C"/>
                </a:solidFill>
                <a:latin typeface="Arial"/>
                <a:cs typeface="Arial"/>
              </a:rPr>
              <a:t>Maven</a:t>
            </a:r>
            <a:endParaRPr sz="2667">
              <a:latin typeface="Arial"/>
              <a:cs typeface="Arial"/>
            </a:endParaRPr>
          </a:p>
        </p:txBody>
      </p:sp>
    </p:spTree>
    <p:extLst>
      <p:ext uri="{BB962C8B-B14F-4D97-AF65-F5344CB8AC3E}">
        <p14:creationId xmlns:p14="http://schemas.microsoft.com/office/powerpoint/2010/main" val="39286432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200726" y="130658"/>
            <a:ext cx="3574473" cy="479618"/>
          </a:xfrm>
          <a:prstGeom prst="rect">
            <a:avLst/>
          </a:prstGeom>
        </p:spPr>
        <p:txBody>
          <a:bodyPr vert="horz" wrap="square" lIns="0" tIns="17780" rIns="0" bIns="0" numCol="1" rtlCol="0" anchor="t" anchorCtr="0" compatLnSpc="1">
            <a:prstTxWarp prst="textNoShape">
              <a:avLst/>
            </a:prstTxWarp>
            <a:spAutoFit/>
          </a:bodyPr>
          <a:lstStyle/>
          <a:p>
            <a:pPr marL="16933">
              <a:spcBef>
                <a:spcPts val="140"/>
              </a:spcBef>
            </a:pPr>
            <a:r>
              <a:rPr dirty="0"/>
              <a:t>Maven</a:t>
            </a:r>
            <a:r>
              <a:rPr spc="-93" dirty="0"/>
              <a:t> </a:t>
            </a:r>
            <a:r>
              <a:rPr dirty="0"/>
              <a:t>Overview</a:t>
            </a:r>
          </a:p>
        </p:txBody>
      </p:sp>
      <p:sp>
        <p:nvSpPr>
          <p:cNvPr id="3" name="object 3"/>
          <p:cNvSpPr txBox="1"/>
          <p:nvPr/>
        </p:nvSpPr>
        <p:spPr>
          <a:xfrm>
            <a:off x="329726" y="987137"/>
            <a:ext cx="10520679" cy="5152030"/>
          </a:xfrm>
          <a:prstGeom prst="rect">
            <a:avLst/>
          </a:prstGeom>
        </p:spPr>
        <p:txBody>
          <a:bodyPr vert="horz" wrap="square" lIns="0" tIns="131233" rIns="0" bIns="0" rtlCol="0">
            <a:spAutoFit/>
          </a:bodyPr>
          <a:lstStyle/>
          <a:p>
            <a:pPr marL="325112" indent="-308179">
              <a:spcBef>
                <a:spcPts val="1033"/>
              </a:spcBef>
              <a:buClr>
                <a:srgbClr val="00AFEF"/>
              </a:buClr>
              <a:buFont typeface="Wingdings"/>
              <a:buChar char=""/>
              <a:tabLst>
                <a:tab pos="325959" algn="l"/>
              </a:tabLst>
            </a:pPr>
            <a:r>
              <a:rPr sz="2667" dirty="0">
                <a:solidFill>
                  <a:srgbClr val="4D4E5C"/>
                </a:solidFill>
                <a:latin typeface="Arial"/>
                <a:cs typeface="Arial"/>
              </a:rPr>
              <a:t>Maven is a Java build</a:t>
            </a:r>
            <a:r>
              <a:rPr sz="2667" spc="-67" dirty="0">
                <a:solidFill>
                  <a:srgbClr val="4D4E5C"/>
                </a:solidFill>
                <a:latin typeface="Arial"/>
                <a:cs typeface="Arial"/>
              </a:rPr>
              <a:t> </a:t>
            </a:r>
            <a:r>
              <a:rPr sz="2667" spc="-7" dirty="0">
                <a:solidFill>
                  <a:srgbClr val="4D4E5C"/>
                </a:solidFill>
                <a:latin typeface="Arial"/>
                <a:cs typeface="Arial"/>
              </a:rPr>
              <a:t>tool</a:t>
            </a:r>
            <a:endParaRPr sz="2667">
              <a:latin typeface="Arial"/>
              <a:cs typeface="Arial"/>
            </a:endParaRPr>
          </a:p>
          <a:p>
            <a:pPr marL="1008355" lvl="1" indent="-381837">
              <a:spcBef>
                <a:spcPts val="813"/>
              </a:spcBef>
              <a:buClr>
                <a:srgbClr val="00AFEF"/>
              </a:buClr>
              <a:buFont typeface="Wingdings"/>
              <a:buChar char=""/>
              <a:tabLst>
                <a:tab pos="1008355" algn="l"/>
                <a:tab pos="1009201" algn="l"/>
              </a:tabLst>
            </a:pPr>
            <a:r>
              <a:rPr sz="2400" dirty="0">
                <a:solidFill>
                  <a:srgbClr val="4D4E5C"/>
                </a:solidFill>
                <a:latin typeface="Arial"/>
                <a:cs typeface="Arial"/>
              </a:rPr>
              <a:t>It is a </a:t>
            </a:r>
            <a:r>
              <a:rPr sz="2400" spc="-7" dirty="0">
                <a:solidFill>
                  <a:srgbClr val="4D4E5C"/>
                </a:solidFill>
                <a:latin typeface="Arial"/>
                <a:cs typeface="Arial"/>
              </a:rPr>
              <a:t>project </a:t>
            </a:r>
            <a:r>
              <a:rPr sz="2400" spc="-13" dirty="0">
                <a:solidFill>
                  <a:srgbClr val="4D4E5C"/>
                </a:solidFill>
                <a:latin typeface="Arial"/>
                <a:cs typeface="Arial"/>
              </a:rPr>
              <a:t>management </a:t>
            </a:r>
            <a:r>
              <a:rPr sz="2400" dirty="0">
                <a:solidFill>
                  <a:srgbClr val="4D4E5C"/>
                </a:solidFill>
                <a:latin typeface="Arial"/>
                <a:cs typeface="Arial"/>
              </a:rPr>
              <a:t>&amp; </a:t>
            </a:r>
            <a:r>
              <a:rPr sz="2400" spc="-7" dirty="0">
                <a:solidFill>
                  <a:srgbClr val="4D4E5C"/>
                </a:solidFill>
                <a:latin typeface="Arial"/>
                <a:cs typeface="Arial"/>
              </a:rPr>
              <a:t>comprehension</a:t>
            </a:r>
            <a:r>
              <a:rPr sz="2400" spc="73" dirty="0">
                <a:solidFill>
                  <a:srgbClr val="4D4E5C"/>
                </a:solidFill>
                <a:latin typeface="Arial"/>
                <a:cs typeface="Arial"/>
              </a:rPr>
              <a:t> </a:t>
            </a:r>
            <a:r>
              <a:rPr sz="2400" spc="-7" dirty="0">
                <a:solidFill>
                  <a:srgbClr val="4D4E5C"/>
                </a:solidFill>
                <a:latin typeface="Arial"/>
                <a:cs typeface="Arial"/>
              </a:rPr>
              <a:t>tool</a:t>
            </a:r>
            <a:endParaRPr sz="2400">
              <a:latin typeface="Arial"/>
              <a:cs typeface="Arial"/>
            </a:endParaRPr>
          </a:p>
          <a:p>
            <a:pPr marL="1008355" lvl="1" indent="-381837">
              <a:spcBef>
                <a:spcPts val="800"/>
              </a:spcBef>
              <a:buClr>
                <a:srgbClr val="00AFEF"/>
              </a:buClr>
              <a:buFont typeface="Wingdings"/>
              <a:buChar char=""/>
              <a:tabLst>
                <a:tab pos="1008355" algn="l"/>
                <a:tab pos="1009201" algn="l"/>
              </a:tabLst>
            </a:pPr>
            <a:r>
              <a:rPr sz="2400" dirty="0">
                <a:solidFill>
                  <a:srgbClr val="4D4E5C"/>
                </a:solidFill>
                <a:latin typeface="Arial"/>
                <a:cs typeface="Arial"/>
              </a:rPr>
              <a:t>It </a:t>
            </a:r>
            <a:r>
              <a:rPr sz="2400" spc="-7" dirty="0">
                <a:solidFill>
                  <a:srgbClr val="4D4E5C"/>
                </a:solidFill>
                <a:latin typeface="Arial"/>
                <a:cs typeface="Arial"/>
              </a:rPr>
              <a:t>used </a:t>
            </a:r>
            <a:r>
              <a:rPr sz="2400" dirty="0">
                <a:solidFill>
                  <a:srgbClr val="4D4E5C"/>
                </a:solidFill>
                <a:latin typeface="Arial"/>
                <a:cs typeface="Arial"/>
              </a:rPr>
              <a:t>for </a:t>
            </a:r>
            <a:r>
              <a:rPr sz="2400" spc="-7" dirty="0">
                <a:solidFill>
                  <a:srgbClr val="4D4E5C"/>
                </a:solidFill>
                <a:latin typeface="Arial"/>
                <a:cs typeface="Arial"/>
              </a:rPr>
              <a:t>building </a:t>
            </a:r>
            <a:r>
              <a:rPr sz="2400" dirty="0">
                <a:solidFill>
                  <a:srgbClr val="4D4E5C"/>
                </a:solidFill>
                <a:latin typeface="Arial"/>
                <a:cs typeface="Arial"/>
              </a:rPr>
              <a:t>&amp; </a:t>
            </a:r>
            <a:r>
              <a:rPr sz="2400" spc="-7" dirty="0">
                <a:solidFill>
                  <a:srgbClr val="4D4E5C"/>
                </a:solidFill>
                <a:latin typeface="Arial"/>
                <a:cs typeface="Arial"/>
              </a:rPr>
              <a:t>managing any Java-based</a:t>
            </a:r>
            <a:r>
              <a:rPr sz="2400" spc="73" dirty="0">
                <a:solidFill>
                  <a:srgbClr val="4D4E5C"/>
                </a:solidFill>
                <a:latin typeface="Arial"/>
                <a:cs typeface="Arial"/>
              </a:rPr>
              <a:t> </a:t>
            </a:r>
            <a:r>
              <a:rPr sz="2400" spc="-7" dirty="0">
                <a:solidFill>
                  <a:srgbClr val="4D4E5C"/>
                </a:solidFill>
                <a:latin typeface="Arial"/>
                <a:cs typeface="Arial"/>
              </a:rPr>
              <a:t>project.</a:t>
            </a:r>
            <a:endParaRPr sz="2400">
              <a:latin typeface="Arial"/>
              <a:cs typeface="Arial"/>
            </a:endParaRPr>
          </a:p>
          <a:p>
            <a:pPr marL="1008355" lvl="1" indent="-381837">
              <a:spcBef>
                <a:spcPts val="800"/>
              </a:spcBef>
              <a:buClr>
                <a:srgbClr val="00AFEF"/>
              </a:buClr>
              <a:buFont typeface="Wingdings"/>
              <a:buChar char=""/>
              <a:tabLst>
                <a:tab pos="1008355" algn="l"/>
                <a:tab pos="1009201" algn="l"/>
              </a:tabLst>
            </a:pPr>
            <a:r>
              <a:rPr sz="2400" dirty="0">
                <a:solidFill>
                  <a:srgbClr val="4D4E5C"/>
                </a:solidFill>
                <a:latin typeface="Arial"/>
                <a:cs typeface="Arial"/>
              </a:rPr>
              <a:t>It </a:t>
            </a:r>
            <a:r>
              <a:rPr sz="2400" spc="-7" dirty="0">
                <a:solidFill>
                  <a:srgbClr val="4D4E5C"/>
                </a:solidFill>
                <a:latin typeface="Arial"/>
                <a:cs typeface="Arial"/>
              </a:rPr>
              <a:t>stores libraries </a:t>
            </a:r>
            <a:r>
              <a:rPr sz="2400" dirty="0">
                <a:solidFill>
                  <a:srgbClr val="4D4E5C"/>
                </a:solidFill>
                <a:latin typeface="Arial"/>
                <a:cs typeface="Arial"/>
              </a:rPr>
              <a:t>&amp; </a:t>
            </a:r>
            <a:r>
              <a:rPr sz="2400" spc="-7" dirty="0">
                <a:solidFill>
                  <a:srgbClr val="4D4E5C"/>
                </a:solidFill>
                <a:latin typeface="Arial"/>
                <a:cs typeface="Arial"/>
              </a:rPr>
              <a:t>plugins in a Maven central</a:t>
            </a:r>
            <a:r>
              <a:rPr sz="2400" spc="87" dirty="0">
                <a:solidFill>
                  <a:srgbClr val="4D4E5C"/>
                </a:solidFill>
                <a:latin typeface="Arial"/>
                <a:cs typeface="Arial"/>
              </a:rPr>
              <a:t> </a:t>
            </a:r>
            <a:r>
              <a:rPr sz="2400" spc="-7" dirty="0">
                <a:solidFill>
                  <a:srgbClr val="4D4E5C"/>
                </a:solidFill>
                <a:latin typeface="Arial"/>
                <a:cs typeface="Arial"/>
              </a:rPr>
              <a:t>repository</a:t>
            </a:r>
            <a:endParaRPr sz="2400">
              <a:latin typeface="Arial"/>
              <a:cs typeface="Arial"/>
            </a:endParaRPr>
          </a:p>
          <a:p>
            <a:pPr marL="1008355" lvl="1" indent="-381837">
              <a:spcBef>
                <a:spcPts val="800"/>
              </a:spcBef>
              <a:buClr>
                <a:srgbClr val="00AFEF"/>
              </a:buClr>
              <a:buFont typeface="Wingdings"/>
              <a:buChar char=""/>
              <a:tabLst>
                <a:tab pos="1008355" algn="l"/>
                <a:tab pos="1009201" algn="l"/>
              </a:tabLst>
            </a:pPr>
            <a:r>
              <a:rPr sz="2400" spc="-7" dirty="0">
                <a:solidFill>
                  <a:srgbClr val="4D4E5C"/>
                </a:solidFill>
                <a:latin typeface="Arial"/>
                <a:cs typeface="Arial"/>
              </a:rPr>
              <a:t>Maven Home Page URL:</a:t>
            </a:r>
            <a:r>
              <a:rPr sz="2400" spc="-7" dirty="0">
                <a:solidFill>
                  <a:srgbClr val="1E1E23"/>
                </a:solidFill>
                <a:latin typeface="Arial"/>
                <a:cs typeface="Arial"/>
              </a:rPr>
              <a:t> </a:t>
            </a:r>
            <a:r>
              <a:rPr sz="2400" u="heavy" spc="-7" dirty="0">
                <a:solidFill>
                  <a:srgbClr val="1E1E23"/>
                </a:solidFill>
                <a:uFill>
                  <a:solidFill>
                    <a:srgbClr val="1E1E23"/>
                  </a:solidFill>
                </a:uFill>
                <a:latin typeface="Arial"/>
                <a:cs typeface="Arial"/>
                <a:hlinkClick r:id="rId2"/>
              </a:rPr>
              <a:t>https://maven.apache.org</a:t>
            </a:r>
            <a:r>
              <a:rPr sz="2400" spc="-7" dirty="0">
                <a:solidFill>
                  <a:srgbClr val="4D4E5C"/>
                </a:solidFill>
                <a:latin typeface="Arial"/>
                <a:cs typeface="Arial"/>
              </a:rPr>
              <a:t>. </a:t>
            </a:r>
            <a:r>
              <a:rPr sz="2400" dirty="0">
                <a:solidFill>
                  <a:srgbClr val="4D4E5C"/>
                </a:solidFill>
                <a:latin typeface="Arial"/>
                <a:cs typeface="Arial"/>
              </a:rPr>
              <a:t>One can find</a:t>
            </a:r>
            <a:r>
              <a:rPr sz="2400" spc="80" dirty="0">
                <a:solidFill>
                  <a:srgbClr val="4D4E5C"/>
                </a:solidFill>
                <a:latin typeface="Arial"/>
                <a:cs typeface="Arial"/>
              </a:rPr>
              <a:t> </a:t>
            </a:r>
            <a:r>
              <a:rPr sz="2400" dirty="0">
                <a:solidFill>
                  <a:srgbClr val="4D4E5C"/>
                </a:solidFill>
                <a:latin typeface="Arial"/>
                <a:cs typeface="Arial"/>
              </a:rPr>
              <a:t>the</a:t>
            </a:r>
            <a:endParaRPr sz="2400">
              <a:latin typeface="Arial"/>
              <a:cs typeface="Arial"/>
            </a:endParaRPr>
          </a:p>
          <a:p>
            <a:pPr marL="1008355">
              <a:spcBef>
                <a:spcPts val="7"/>
              </a:spcBef>
            </a:pPr>
            <a:r>
              <a:rPr sz="2400" spc="-7" dirty="0">
                <a:solidFill>
                  <a:srgbClr val="4D4E5C"/>
                </a:solidFill>
                <a:latin typeface="Arial"/>
                <a:cs typeface="Arial"/>
              </a:rPr>
              <a:t>reference documentation </a:t>
            </a:r>
            <a:r>
              <a:rPr sz="2400" dirty="0">
                <a:solidFill>
                  <a:srgbClr val="4D4E5C"/>
                </a:solidFill>
                <a:latin typeface="Arial"/>
                <a:cs typeface="Arial"/>
              </a:rPr>
              <a:t>for </a:t>
            </a:r>
            <a:r>
              <a:rPr sz="2400" spc="-7" dirty="0">
                <a:solidFill>
                  <a:srgbClr val="4D4E5C"/>
                </a:solidFill>
                <a:latin typeface="Arial"/>
                <a:cs typeface="Arial"/>
              </a:rPr>
              <a:t>Maven </a:t>
            </a:r>
            <a:r>
              <a:rPr sz="2400" dirty="0">
                <a:solidFill>
                  <a:srgbClr val="4D4E5C"/>
                </a:solidFill>
                <a:latin typeface="Arial"/>
                <a:cs typeface="Arial"/>
              </a:rPr>
              <a:t>&amp; </a:t>
            </a:r>
            <a:r>
              <a:rPr sz="2400" spc="-7" dirty="0">
                <a:solidFill>
                  <a:srgbClr val="4D4E5C"/>
                </a:solidFill>
                <a:latin typeface="Arial"/>
                <a:cs typeface="Arial"/>
              </a:rPr>
              <a:t>the core</a:t>
            </a:r>
            <a:r>
              <a:rPr sz="2400" spc="27" dirty="0">
                <a:solidFill>
                  <a:srgbClr val="4D4E5C"/>
                </a:solidFill>
                <a:latin typeface="Arial"/>
                <a:cs typeface="Arial"/>
              </a:rPr>
              <a:t> </a:t>
            </a:r>
            <a:r>
              <a:rPr sz="2400" spc="-7" dirty="0">
                <a:solidFill>
                  <a:srgbClr val="4D4E5C"/>
                </a:solidFill>
                <a:latin typeface="Arial"/>
                <a:cs typeface="Arial"/>
              </a:rPr>
              <a:t>Plugins</a:t>
            </a:r>
            <a:endParaRPr sz="2400">
              <a:latin typeface="Arial"/>
              <a:cs typeface="Arial"/>
            </a:endParaRPr>
          </a:p>
          <a:p>
            <a:pPr>
              <a:lnSpc>
                <a:spcPct val="100000"/>
              </a:lnSpc>
            </a:pPr>
            <a:endParaRPr sz="2667">
              <a:latin typeface="Times New Roman"/>
              <a:cs typeface="Times New Roman"/>
            </a:endParaRPr>
          </a:p>
          <a:p>
            <a:pPr marL="325112" indent="-308179">
              <a:spcBef>
                <a:spcPts val="1720"/>
              </a:spcBef>
              <a:buClr>
                <a:srgbClr val="00AFEF"/>
              </a:buClr>
              <a:buFont typeface="Wingdings"/>
              <a:buChar char=""/>
              <a:tabLst>
                <a:tab pos="325959" algn="l"/>
              </a:tabLst>
            </a:pPr>
            <a:r>
              <a:rPr sz="2667" dirty="0">
                <a:solidFill>
                  <a:srgbClr val="4D4E5C"/>
                </a:solidFill>
                <a:latin typeface="Arial"/>
                <a:cs typeface="Arial"/>
              </a:rPr>
              <a:t>Why</a:t>
            </a:r>
            <a:r>
              <a:rPr sz="2667" spc="-33" dirty="0">
                <a:solidFill>
                  <a:srgbClr val="4D4E5C"/>
                </a:solidFill>
                <a:latin typeface="Arial"/>
                <a:cs typeface="Arial"/>
              </a:rPr>
              <a:t> </a:t>
            </a:r>
            <a:r>
              <a:rPr sz="2667" dirty="0">
                <a:solidFill>
                  <a:srgbClr val="4D4E5C"/>
                </a:solidFill>
                <a:latin typeface="Arial"/>
                <a:cs typeface="Arial"/>
              </a:rPr>
              <a:t>Maven?</a:t>
            </a:r>
            <a:endParaRPr sz="2667">
              <a:latin typeface="Arial"/>
              <a:cs typeface="Arial"/>
            </a:endParaRPr>
          </a:p>
          <a:p>
            <a:pPr marL="1008355" lvl="1" indent="-381837">
              <a:spcBef>
                <a:spcPts val="813"/>
              </a:spcBef>
              <a:buClr>
                <a:srgbClr val="00AFEF"/>
              </a:buClr>
              <a:buFont typeface="Wingdings"/>
              <a:buChar char=""/>
              <a:tabLst>
                <a:tab pos="1008355" algn="l"/>
                <a:tab pos="1009201" algn="l"/>
              </a:tabLst>
            </a:pPr>
            <a:r>
              <a:rPr sz="2400" spc="-7" dirty="0">
                <a:solidFill>
                  <a:srgbClr val="4D4E5C"/>
                </a:solidFill>
                <a:latin typeface="Arial"/>
                <a:cs typeface="Arial"/>
              </a:rPr>
              <a:t>Fairly large </a:t>
            </a:r>
            <a:r>
              <a:rPr sz="2400" spc="-13" dirty="0">
                <a:solidFill>
                  <a:srgbClr val="4D4E5C"/>
                </a:solidFill>
                <a:latin typeface="Arial"/>
                <a:cs typeface="Arial"/>
              </a:rPr>
              <a:t>software </a:t>
            </a:r>
            <a:r>
              <a:rPr sz="2400" spc="-7" dirty="0">
                <a:solidFill>
                  <a:srgbClr val="4D4E5C"/>
                </a:solidFill>
                <a:latin typeface="Arial"/>
                <a:cs typeface="Arial"/>
              </a:rPr>
              <a:t>projects generally contain many</a:t>
            </a:r>
            <a:r>
              <a:rPr sz="2400" spc="260" dirty="0">
                <a:solidFill>
                  <a:srgbClr val="4D4E5C"/>
                </a:solidFill>
                <a:latin typeface="Arial"/>
                <a:cs typeface="Arial"/>
              </a:rPr>
              <a:t> </a:t>
            </a:r>
            <a:r>
              <a:rPr sz="2400" spc="-7" dirty="0">
                <a:solidFill>
                  <a:srgbClr val="4D4E5C"/>
                </a:solidFill>
                <a:latin typeface="Arial"/>
                <a:cs typeface="Arial"/>
              </a:rPr>
              <a:t>projects/modules</a:t>
            </a:r>
            <a:endParaRPr sz="2400">
              <a:latin typeface="Arial"/>
              <a:cs typeface="Arial"/>
            </a:endParaRPr>
          </a:p>
          <a:p>
            <a:pPr marL="1008355" lvl="1" indent="-381837">
              <a:spcBef>
                <a:spcPts val="800"/>
              </a:spcBef>
              <a:buClr>
                <a:srgbClr val="00AFEF"/>
              </a:buClr>
              <a:buFont typeface="Wingdings"/>
              <a:buChar char=""/>
              <a:tabLst>
                <a:tab pos="1008355" algn="l"/>
                <a:tab pos="1009201" algn="l"/>
              </a:tabLst>
            </a:pPr>
            <a:r>
              <a:rPr sz="2400" spc="-7" dirty="0">
                <a:solidFill>
                  <a:srgbClr val="4D4E5C"/>
                </a:solidFill>
                <a:latin typeface="Arial"/>
                <a:cs typeface="Arial"/>
              </a:rPr>
              <a:t>Build process </a:t>
            </a:r>
            <a:r>
              <a:rPr sz="2400" spc="-13" dirty="0">
                <a:solidFill>
                  <a:srgbClr val="4D4E5C"/>
                </a:solidFill>
                <a:latin typeface="Arial"/>
                <a:cs typeface="Arial"/>
              </a:rPr>
              <a:t>without </a:t>
            </a:r>
            <a:r>
              <a:rPr sz="2400" spc="-7" dirty="0">
                <a:solidFill>
                  <a:srgbClr val="4D4E5C"/>
                </a:solidFill>
                <a:latin typeface="Arial"/>
                <a:cs typeface="Arial"/>
              </a:rPr>
              <a:t>automation in such projects, is challenging</a:t>
            </a:r>
            <a:r>
              <a:rPr sz="2400" spc="213" dirty="0">
                <a:solidFill>
                  <a:srgbClr val="4D4E5C"/>
                </a:solidFill>
                <a:latin typeface="Arial"/>
                <a:cs typeface="Arial"/>
              </a:rPr>
              <a:t> </a:t>
            </a:r>
            <a:r>
              <a:rPr sz="2400" dirty="0">
                <a:solidFill>
                  <a:srgbClr val="4D4E5C"/>
                </a:solidFill>
                <a:latin typeface="Arial"/>
                <a:cs typeface="Arial"/>
              </a:rPr>
              <a:t>to</a:t>
            </a:r>
            <a:endParaRPr sz="2400">
              <a:latin typeface="Arial"/>
              <a:cs typeface="Arial"/>
            </a:endParaRPr>
          </a:p>
          <a:p>
            <a:pPr marL="1008355"/>
            <a:r>
              <a:rPr sz="2400" spc="-7" dirty="0">
                <a:solidFill>
                  <a:srgbClr val="4D4E5C"/>
                </a:solidFill>
                <a:latin typeface="Arial"/>
                <a:cs typeface="Arial"/>
              </a:rPr>
              <a:t>understand </a:t>
            </a:r>
            <a:r>
              <a:rPr sz="2400" spc="-13" dirty="0">
                <a:solidFill>
                  <a:srgbClr val="4D4E5C"/>
                </a:solidFill>
                <a:latin typeface="Arial"/>
                <a:cs typeface="Arial"/>
              </a:rPr>
              <a:t>and </a:t>
            </a:r>
            <a:r>
              <a:rPr sz="2400" spc="-7" dirty="0">
                <a:solidFill>
                  <a:srgbClr val="4D4E5C"/>
                </a:solidFill>
                <a:latin typeface="Arial"/>
                <a:cs typeface="Arial"/>
              </a:rPr>
              <a:t>maintain </a:t>
            </a:r>
            <a:r>
              <a:rPr sz="2400" dirty="0">
                <a:solidFill>
                  <a:srgbClr val="4D4E5C"/>
                </a:solidFill>
                <a:latin typeface="Arial"/>
                <a:cs typeface="Arial"/>
              </a:rPr>
              <a:t>it </a:t>
            </a:r>
            <a:r>
              <a:rPr sz="2400" spc="-20" dirty="0">
                <a:solidFill>
                  <a:srgbClr val="4D4E5C"/>
                </a:solidFill>
                <a:latin typeface="Arial"/>
                <a:cs typeface="Arial"/>
              </a:rPr>
              <a:t>with </a:t>
            </a:r>
            <a:r>
              <a:rPr sz="2400" dirty="0">
                <a:solidFill>
                  <a:srgbClr val="4D4E5C"/>
                </a:solidFill>
                <a:latin typeface="Arial"/>
                <a:cs typeface="Arial"/>
              </a:rPr>
              <a:t>in </a:t>
            </a:r>
            <a:r>
              <a:rPr sz="2400" spc="-7" dirty="0">
                <a:solidFill>
                  <a:srgbClr val="4D4E5C"/>
                </a:solidFill>
                <a:latin typeface="Arial"/>
                <a:cs typeface="Arial"/>
              </a:rPr>
              <a:t>stipulated</a:t>
            </a:r>
            <a:r>
              <a:rPr sz="2400" spc="120" dirty="0">
                <a:solidFill>
                  <a:srgbClr val="4D4E5C"/>
                </a:solidFill>
                <a:latin typeface="Arial"/>
                <a:cs typeface="Arial"/>
              </a:rPr>
              <a:t> </a:t>
            </a:r>
            <a:r>
              <a:rPr sz="2400" spc="-7" dirty="0">
                <a:solidFill>
                  <a:srgbClr val="4D4E5C"/>
                </a:solidFill>
                <a:latin typeface="Arial"/>
                <a:cs typeface="Arial"/>
              </a:rPr>
              <a:t>time.</a:t>
            </a:r>
            <a:endParaRPr sz="2400">
              <a:latin typeface="Arial"/>
              <a:cs typeface="Arial"/>
            </a:endParaRPr>
          </a:p>
        </p:txBody>
      </p:sp>
    </p:spTree>
    <p:extLst>
      <p:ext uri="{BB962C8B-B14F-4D97-AF65-F5344CB8AC3E}">
        <p14:creationId xmlns:p14="http://schemas.microsoft.com/office/powerpoint/2010/main" val="104391558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274618" y="307002"/>
            <a:ext cx="2975377" cy="479618"/>
          </a:xfrm>
          <a:prstGeom prst="rect">
            <a:avLst/>
          </a:prstGeom>
        </p:spPr>
        <p:txBody>
          <a:bodyPr vert="horz" wrap="square" lIns="0" tIns="17780" rIns="0" bIns="0" numCol="1" rtlCol="0" anchor="t" anchorCtr="0" compatLnSpc="1">
            <a:prstTxWarp prst="textNoShape">
              <a:avLst/>
            </a:prstTxWarp>
            <a:spAutoFit/>
          </a:bodyPr>
          <a:lstStyle/>
          <a:p>
            <a:pPr marL="16933">
              <a:spcBef>
                <a:spcPts val="140"/>
              </a:spcBef>
            </a:pPr>
            <a:r>
              <a:rPr dirty="0"/>
              <a:t>Features of</a:t>
            </a:r>
            <a:r>
              <a:rPr spc="-107" dirty="0"/>
              <a:t> </a:t>
            </a:r>
            <a:r>
              <a:rPr dirty="0"/>
              <a:t>Maven</a:t>
            </a:r>
          </a:p>
        </p:txBody>
      </p:sp>
      <p:sp>
        <p:nvSpPr>
          <p:cNvPr id="3" name="object 3"/>
          <p:cNvSpPr txBox="1"/>
          <p:nvPr/>
        </p:nvSpPr>
        <p:spPr>
          <a:xfrm>
            <a:off x="284209" y="872054"/>
            <a:ext cx="9903460" cy="5196679"/>
          </a:xfrm>
          <a:prstGeom prst="rect">
            <a:avLst/>
          </a:prstGeom>
        </p:spPr>
        <p:txBody>
          <a:bodyPr vert="horz" wrap="square" lIns="0" tIns="83820" rIns="0" bIns="0" rtlCol="0">
            <a:spAutoFit/>
          </a:bodyPr>
          <a:lstStyle/>
          <a:p>
            <a:pPr marL="325112" indent="-308179">
              <a:spcBef>
                <a:spcPts val="660"/>
              </a:spcBef>
              <a:buClr>
                <a:srgbClr val="00AFEF"/>
              </a:buClr>
              <a:buFont typeface="Wingdings"/>
              <a:buChar char=""/>
              <a:tabLst>
                <a:tab pos="325112" algn="l"/>
                <a:tab pos="325959" algn="l"/>
              </a:tabLst>
            </a:pPr>
            <a:r>
              <a:rPr sz="1733" spc="-7" dirty="0">
                <a:solidFill>
                  <a:srgbClr val="4D4E5C"/>
                </a:solidFill>
                <a:latin typeface="Arial"/>
                <a:cs typeface="Arial"/>
              </a:rPr>
              <a:t>Easier</a:t>
            </a:r>
            <a:r>
              <a:rPr sz="1733" dirty="0">
                <a:solidFill>
                  <a:srgbClr val="4D4E5C"/>
                </a:solidFill>
                <a:latin typeface="Arial"/>
                <a:cs typeface="Arial"/>
              </a:rPr>
              <a:t> </a:t>
            </a:r>
            <a:r>
              <a:rPr sz="1733" spc="-7" dirty="0">
                <a:solidFill>
                  <a:srgbClr val="4D4E5C"/>
                </a:solidFill>
                <a:latin typeface="Arial"/>
                <a:cs typeface="Arial"/>
              </a:rPr>
              <a:t>configuration</a:t>
            </a:r>
            <a:endParaRPr sz="1733">
              <a:latin typeface="Arial"/>
              <a:cs typeface="Arial"/>
            </a:endParaRPr>
          </a:p>
          <a:p>
            <a:pPr marL="1008355" lvl="1" indent="-381837">
              <a:spcBef>
                <a:spcPts val="460"/>
              </a:spcBef>
              <a:buClr>
                <a:srgbClr val="00AFEF"/>
              </a:buClr>
              <a:buFont typeface="Wingdings"/>
              <a:buChar char=""/>
              <a:tabLst>
                <a:tab pos="1008355" algn="l"/>
                <a:tab pos="1009201" algn="l"/>
              </a:tabLst>
            </a:pPr>
            <a:r>
              <a:rPr sz="1467" spc="-7" dirty="0">
                <a:solidFill>
                  <a:srgbClr val="4D4E5C"/>
                </a:solidFill>
                <a:latin typeface="Arial"/>
                <a:cs typeface="Arial"/>
              </a:rPr>
              <a:t>Consistent </a:t>
            </a:r>
            <a:r>
              <a:rPr sz="1467" dirty="0">
                <a:solidFill>
                  <a:srgbClr val="4D4E5C"/>
                </a:solidFill>
                <a:latin typeface="Arial"/>
                <a:cs typeface="Arial"/>
              </a:rPr>
              <a:t>project</a:t>
            </a:r>
            <a:r>
              <a:rPr sz="1467" spc="-60" dirty="0">
                <a:solidFill>
                  <a:srgbClr val="4D4E5C"/>
                </a:solidFill>
                <a:latin typeface="Arial"/>
                <a:cs typeface="Arial"/>
              </a:rPr>
              <a:t> </a:t>
            </a:r>
            <a:r>
              <a:rPr sz="1467" dirty="0">
                <a:solidFill>
                  <a:srgbClr val="4D4E5C"/>
                </a:solidFill>
                <a:latin typeface="Arial"/>
                <a:cs typeface="Arial"/>
              </a:rPr>
              <a:t>structure</a:t>
            </a:r>
            <a:endParaRPr sz="1467">
              <a:latin typeface="Arial"/>
              <a:cs typeface="Arial"/>
            </a:endParaRPr>
          </a:p>
          <a:p>
            <a:pPr marL="1008355" lvl="1" indent="-381837">
              <a:spcBef>
                <a:spcPts val="447"/>
              </a:spcBef>
              <a:buClr>
                <a:srgbClr val="00AFEF"/>
              </a:buClr>
              <a:buFont typeface="Wingdings"/>
              <a:buChar char=""/>
              <a:tabLst>
                <a:tab pos="1008355" algn="l"/>
                <a:tab pos="1009201" algn="l"/>
              </a:tabLst>
            </a:pPr>
            <a:r>
              <a:rPr sz="1467" spc="-7" dirty="0">
                <a:solidFill>
                  <a:srgbClr val="4D4E5C"/>
                </a:solidFill>
                <a:latin typeface="Arial"/>
                <a:cs typeface="Arial"/>
              </a:rPr>
              <a:t>Provides </a:t>
            </a:r>
            <a:r>
              <a:rPr sz="1467" dirty="0">
                <a:solidFill>
                  <a:srgbClr val="4D4E5C"/>
                </a:solidFill>
                <a:latin typeface="Arial"/>
                <a:cs typeface="Arial"/>
              </a:rPr>
              <a:t>project templates </a:t>
            </a:r>
            <a:r>
              <a:rPr sz="1467" spc="-7" dirty="0">
                <a:solidFill>
                  <a:srgbClr val="4D4E5C"/>
                </a:solidFill>
                <a:latin typeface="Arial"/>
                <a:cs typeface="Arial"/>
              </a:rPr>
              <a:t>known </a:t>
            </a:r>
            <a:r>
              <a:rPr sz="1467" dirty="0">
                <a:solidFill>
                  <a:srgbClr val="4D4E5C"/>
                </a:solidFill>
                <a:latin typeface="Arial"/>
                <a:cs typeface="Arial"/>
              </a:rPr>
              <a:t>as</a:t>
            </a:r>
            <a:r>
              <a:rPr sz="1467" spc="-73" dirty="0">
                <a:solidFill>
                  <a:srgbClr val="4D4E5C"/>
                </a:solidFill>
                <a:latin typeface="Arial"/>
                <a:cs typeface="Arial"/>
              </a:rPr>
              <a:t> </a:t>
            </a:r>
            <a:r>
              <a:rPr sz="1467" dirty="0">
                <a:solidFill>
                  <a:srgbClr val="4D4E5C"/>
                </a:solidFill>
                <a:latin typeface="Arial"/>
                <a:cs typeface="Arial"/>
              </a:rPr>
              <a:t>archetypes.</a:t>
            </a:r>
            <a:endParaRPr sz="1467">
              <a:latin typeface="Arial"/>
              <a:cs typeface="Arial"/>
            </a:endParaRPr>
          </a:p>
          <a:p>
            <a:pPr marL="325112" indent="-308179">
              <a:spcBef>
                <a:spcPts val="373"/>
              </a:spcBef>
              <a:buClr>
                <a:srgbClr val="00AFEF"/>
              </a:buClr>
              <a:buFont typeface="Wingdings"/>
              <a:buChar char=""/>
              <a:tabLst>
                <a:tab pos="325112" algn="l"/>
                <a:tab pos="325959" algn="l"/>
              </a:tabLst>
            </a:pPr>
            <a:r>
              <a:rPr sz="1733" spc="-13" dirty="0">
                <a:solidFill>
                  <a:srgbClr val="4D4E5C"/>
                </a:solidFill>
                <a:latin typeface="Arial"/>
                <a:cs typeface="Arial"/>
              </a:rPr>
              <a:t>Dependency</a:t>
            </a:r>
            <a:r>
              <a:rPr sz="1733" spc="47" dirty="0">
                <a:solidFill>
                  <a:srgbClr val="4D4E5C"/>
                </a:solidFill>
                <a:latin typeface="Arial"/>
                <a:cs typeface="Arial"/>
              </a:rPr>
              <a:t> </a:t>
            </a:r>
            <a:r>
              <a:rPr sz="1733" spc="-13" dirty="0">
                <a:solidFill>
                  <a:srgbClr val="4D4E5C"/>
                </a:solidFill>
                <a:latin typeface="Arial"/>
                <a:cs typeface="Arial"/>
              </a:rPr>
              <a:t>Management</a:t>
            </a:r>
            <a:endParaRPr sz="1733">
              <a:latin typeface="Arial"/>
              <a:cs typeface="Arial"/>
            </a:endParaRPr>
          </a:p>
          <a:p>
            <a:pPr marL="1008355" lvl="1" indent="-381837">
              <a:spcBef>
                <a:spcPts val="460"/>
              </a:spcBef>
              <a:buClr>
                <a:srgbClr val="00AFEF"/>
              </a:buClr>
              <a:buFont typeface="Wingdings"/>
              <a:buChar char=""/>
              <a:tabLst>
                <a:tab pos="1008355" algn="l"/>
                <a:tab pos="1009201" algn="l"/>
              </a:tabLst>
            </a:pPr>
            <a:r>
              <a:rPr sz="1467" spc="-7" dirty="0">
                <a:solidFill>
                  <a:srgbClr val="4D4E5C"/>
                </a:solidFill>
                <a:latin typeface="Arial"/>
                <a:cs typeface="Arial"/>
              </a:rPr>
              <a:t>Multi-module builds</a:t>
            </a:r>
            <a:endParaRPr sz="1467">
              <a:latin typeface="Arial"/>
              <a:cs typeface="Arial"/>
            </a:endParaRPr>
          </a:p>
          <a:p>
            <a:pPr marL="1008355" lvl="1" indent="-381837">
              <a:spcBef>
                <a:spcPts val="447"/>
              </a:spcBef>
              <a:buClr>
                <a:srgbClr val="00AFEF"/>
              </a:buClr>
              <a:buFont typeface="Wingdings"/>
              <a:buChar char=""/>
              <a:tabLst>
                <a:tab pos="1008355" algn="l"/>
                <a:tab pos="1009201" algn="l"/>
              </a:tabLst>
            </a:pPr>
            <a:r>
              <a:rPr sz="1467" spc="-7" dirty="0">
                <a:solidFill>
                  <a:srgbClr val="4D4E5C"/>
                </a:solidFill>
                <a:latin typeface="Arial"/>
                <a:cs typeface="Arial"/>
              </a:rPr>
              <a:t>Build </a:t>
            </a:r>
            <a:r>
              <a:rPr sz="1467" dirty="0">
                <a:solidFill>
                  <a:srgbClr val="4D4E5C"/>
                </a:solidFill>
                <a:latin typeface="Arial"/>
                <a:cs typeface="Arial"/>
              </a:rPr>
              <a:t>model can be </a:t>
            </a:r>
            <a:r>
              <a:rPr sz="1467" spc="-7" dirty="0">
                <a:solidFill>
                  <a:srgbClr val="4D4E5C"/>
                </a:solidFill>
                <a:latin typeface="Arial"/>
                <a:cs typeface="Arial"/>
              </a:rPr>
              <a:t>sliced </a:t>
            </a:r>
            <a:r>
              <a:rPr sz="1467" dirty="0">
                <a:solidFill>
                  <a:srgbClr val="4D4E5C"/>
                </a:solidFill>
                <a:latin typeface="Arial"/>
                <a:cs typeface="Arial"/>
              </a:rPr>
              <a:t>and</a:t>
            </a:r>
            <a:r>
              <a:rPr sz="1467" spc="-20" dirty="0">
                <a:solidFill>
                  <a:srgbClr val="4D4E5C"/>
                </a:solidFill>
                <a:latin typeface="Arial"/>
                <a:cs typeface="Arial"/>
              </a:rPr>
              <a:t> </a:t>
            </a:r>
            <a:r>
              <a:rPr sz="1467" spc="-7" dirty="0">
                <a:solidFill>
                  <a:srgbClr val="4D4E5C"/>
                </a:solidFill>
                <a:latin typeface="Arial"/>
                <a:cs typeface="Arial"/>
              </a:rPr>
              <a:t>diced</a:t>
            </a:r>
            <a:endParaRPr sz="1467">
              <a:latin typeface="Arial"/>
              <a:cs typeface="Arial"/>
            </a:endParaRPr>
          </a:p>
          <a:p>
            <a:pPr marL="1008355" lvl="1" indent="-381837">
              <a:spcBef>
                <a:spcPts val="453"/>
              </a:spcBef>
              <a:buClr>
                <a:srgbClr val="00AFEF"/>
              </a:buClr>
              <a:buFont typeface="Wingdings"/>
              <a:buChar char=""/>
              <a:tabLst>
                <a:tab pos="1008355" algn="l"/>
                <a:tab pos="1009201" algn="l"/>
              </a:tabLst>
            </a:pPr>
            <a:r>
              <a:rPr sz="1467" spc="-7" dirty="0">
                <a:solidFill>
                  <a:srgbClr val="4D4E5C"/>
                </a:solidFill>
                <a:latin typeface="Arial"/>
                <a:cs typeface="Arial"/>
              </a:rPr>
              <a:t>During Maven build </a:t>
            </a:r>
            <a:r>
              <a:rPr sz="1467" dirty="0">
                <a:solidFill>
                  <a:srgbClr val="4D4E5C"/>
                </a:solidFill>
                <a:latin typeface="Arial"/>
                <a:cs typeface="Arial"/>
              </a:rPr>
              <a:t>process the </a:t>
            </a:r>
            <a:r>
              <a:rPr sz="1467" spc="-7" dirty="0">
                <a:solidFill>
                  <a:srgbClr val="4D4E5C"/>
                </a:solidFill>
                <a:latin typeface="Arial"/>
                <a:cs typeface="Arial"/>
              </a:rPr>
              <a:t>dependencies </a:t>
            </a:r>
            <a:r>
              <a:rPr sz="1467" dirty="0">
                <a:solidFill>
                  <a:srgbClr val="4D4E5C"/>
                </a:solidFill>
                <a:latin typeface="Arial"/>
                <a:cs typeface="Arial"/>
              </a:rPr>
              <a:t>are</a:t>
            </a:r>
            <a:r>
              <a:rPr sz="1467" spc="-27" dirty="0">
                <a:solidFill>
                  <a:srgbClr val="4D4E5C"/>
                </a:solidFill>
                <a:latin typeface="Arial"/>
                <a:cs typeface="Arial"/>
              </a:rPr>
              <a:t> </a:t>
            </a:r>
            <a:r>
              <a:rPr sz="1467" spc="-7" dirty="0">
                <a:solidFill>
                  <a:srgbClr val="4D4E5C"/>
                </a:solidFill>
                <a:latin typeface="Arial"/>
                <a:cs typeface="Arial"/>
              </a:rPr>
              <a:t>resolved</a:t>
            </a:r>
            <a:endParaRPr sz="1467">
              <a:latin typeface="Arial"/>
              <a:cs typeface="Arial"/>
            </a:endParaRPr>
          </a:p>
          <a:p>
            <a:pPr marL="325112" indent="-308179">
              <a:spcBef>
                <a:spcPts val="373"/>
              </a:spcBef>
              <a:buClr>
                <a:srgbClr val="00AFEF"/>
              </a:buClr>
              <a:buFont typeface="Wingdings"/>
              <a:buChar char=""/>
              <a:tabLst>
                <a:tab pos="325112" algn="l"/>
                <a:tab pos="325959" algn="l"/>
              </a:tabLst>
            </a:pPr>
            <a:r>
              <a:rPr sz="1733" spc="-7" dirty="0">
                <a:solidFill>
                  <a:srgbClr val="4D4E5C"/>
                </a:solidFill>
                <a:latin typeface="Arial"/>
                <a:cs typeface="Arial"/>
              </a:rPr>
              <a:t>Repository</a:t>
            </a:r>
            <a:endParaRPr sz="1733">
              <a:latin typeface="Arial"/>
              <a:cs typeface="Arial"/>
            </a:endParaRPr>
          </a:p>
          <a:p>
            <a:pPr marL="1008355" lvl="1" indent="-381837">
              <a:spcBef>
                <a:spcPts val="453"/>
              </a:spcBef>
              <a:buClr>
                <a:srgbClr val="00AFEF"/>
              </a:buClr>
              <a:buFont typeface="Wingdings"/>
              <a:buChar char=""/>
              <a:tabLst>
                <a:tab pos="1008355" algn="l"/>
                <a:tab pos="1009201" algn="l"/>
              </a:tabLst>
            </a:pPr>
            <a:r>
              <a:rPr sz="1467" dirty="0">
                <a:solidFill>
                  <a:srgbClr val="4D4E5C"/>
                </a:solidFill>
                <a:latin typeface="Arial"/>
                <a:cs typeface="Arial"/>
              </a:rPr>
              <a:t>Project </a:t>
            </a:r>
            <a:r>
              <a:rPr sz="1467" spc="-7" dirty="0">
                <a:solidFill>
                  <a:srgbClr val="4D4E5C"/>
                </a:solidFill>
                <a:latin typeface="Arial"/>
                <a:cs typeface="Arial"/>
              </a:rPr>
              <a:t>dependencies </a:t>
            </a:r>
            <a:r>
              <a:rPr sz="1467" dirty="0">
                <a:solidFill>
                  <a:srgbClr val="4D4E5C"/>
                </a:solidFill>
                <a:latin typeface="Arial"/>
                <a:cs typeface="Arial"/>
              </a:rPr>
              <a:t>can be accessed </a:t>
            </a:r>
            <a:r>
              <a:rPr sz="1467" spc="7" dirty="0">
                <a:solidFill>
                  <a:srgbClr val="4D4E5C"/>
                </a:solidFill>
                <a:latin typeface="Arial"/>
                <a:cs typeface="Arial"/>
              </a:rPr>
              <a:t>from </a:t>
            </a:r>
            <a:r>
              <a:rPr sz="1467" spc="-7" dirty="0">
                <a:solidFill>
                  <a:srgbClr val="4D4E5C"/>
                </a:solidFill>
                <a:latin typeface="Arial"/>
                <a:cs typeface="Arial"/>
              </a:rPr>
              <a:t>local file system </a:t>
            </a:r>
            <a:r>
              <a:rPr sz="1467" dirty="0">
                <a:solidFill>
                  <a:srgbClr val="4D4E5C"/>
                </a:solidFill>
                <a:latin typeface="Arial"/>
                <a:cs typeface="Arial"/>
              </a:rPr>
              <a:t>and/or </a:t>
            </a:r>
            <a:r>
              <a:rPr sz="1467" spc="7" dirty="0">
                <a:solidFill>
                  <a:srgbClr val="4D4E5C"/>
                </a:solidFill>
                <a:latin typeface="Arial"/>
                <a:cs typeface="Arial"/>
              </a:rPr>
              <a:t>from </a:t>
            </a:r>
            <a:r>
              <a:rPr sz="1467" dirty="0">
                <a:solidFill>
                  <a:srgbClr val="4D4E5C"/>
                </a:solidFill>
                <a:latin typeface="Arial"/>
                <a:cs typeface="Arial"/>
              </a:rPr>
              <a:t>central or </a:t>
            </a:r>
            <a:r>
              <a:rPr sz="1467" spc="7" dirty="0">
                <a:solidFill>
                  <a:srgbClr val="4D4E5C"/>
                </a:solidFill>
                <a:latin typeface="Arial"/>
                <a:cs typeface="Arial"/>
              </a:rPr>
              <a:t>from</a:t>
            </a:r>
            <a:r>
              <a:rPr sz="1467" spc="-272" dirty="0">
                <a:solidFill>
                  <a:srgbClr val="4D4E5C"/>
                </a:solidFill>
                <a:latin typeface="Arial"/>
                <a:cs typeface="Arial"/>
              </a:rPr>
              <a:t> </a:t>
            </a:r>
            <a:r>
              <a:rPr sz="1467" spc="-7" dirty="0">
                <a:solidFill>
                  <a:srgbClr val="4D4E5C"/>
                </a:solidFill>
                <a:latin typeface="Arial"/>
                <a:cs typeface="Arial"/>
              </a:rPr>
              <a:t>public </a:t>
            </a:r>
            <a:r>
              <a:rPr sz="1467" dirty="0">
                <a:solidFill>
                  <a:srgbClr val="4D4E5C"/>
                </a:solidFill>
                <a:latin typeface="Arial"/>
                <a:cs typeface="Arial"/>
              </a:rPr>
              <a:t>repositories.</a:t>
            </a:r>
            <a:endParaRPr sz="1467">
              <a:latin typeface="Arial"/>
              <a:cs typeface="Arial"/>
            </a:endParaRPr>
          </a:p>
          <a:p>
            <a:pPr marL="325112" indent="-308179">
              <a:spcBef>
                <a:spcPts val="380"/>
              </a:spcBef>
              <a:buClr>
                <a:srgbClr val="00AFEF"/>
              </a:buClr>
              <a:buFont typeface="Wingdings"/>
              <a:buChar char=""/>
              <a:tabLst>
                <a:tab pos="325112" algn="l"/>
                <a:tab pos="325959" algn="l"/>
              </a:tabLst>
            </a:pPr>
            <a:r>
              <a:rPr sz="1733" spc="-7" dirty="0">
                <a:solidFill>
                  <a:srgbClr val="4D4E5C"/>
                </a:solidFill>
                <a:latin typeface="Arial"/>
                <a:cs typeface="Arial"/>
              </a:rPr>
              <a:t>Plugin oriented - Extensible </a:t>
            </a:r>
            <a:r>
              <a:rPr sz="1733" spc="-13" dirty="0">
                <a:solidFill>
                  <a:srgbClr val="4D4E5C"/>
                </a:solidFill>
                <a:latin typeface="Arial"/>
                <a:cs typeface="Arial"/>
              </a:rPr>
              <a:t>via</a:t>
            </a:r>
            <a:r>
              <a:rPr sz="1733" spc="147" dirty="0">
                <a:solidFill>
                  <a:srgbClr val="4D4E5C"/>
                </a:solidFill>
                <a:latin typeface="Arial"/>
                <a:cs typeface="Arial"/>
              </a:rPr>
              <a:t> </a:t>
            </a:r>
            <a:r>
              <a:rPr sz="1733" spc="-7" dirty="0">
                <a:solidFill>
                  <a:srgbClr val="4D4E5C"/>
                </a:solidFill>
                <a:latin typeface="Arial"/>
                <a:cs typeface="Arial"/>
              </a:rPr>
              <a:t>plug-ins</a:t>
            </a:r>
            <a:endParaRPr sz="1733">
              <a:latin typeface="Arial"/>
              <a:cs typeface="Arial"/>
            </a:endParaRPr>
          </a:p>
          <a:p>
            <a:pPr marL="1008355" lvl="1" indent="-381837">
              <a:spcBef>
                <a:spcPts val="460"/>
              </a:spcBef>
              <a:buClr>
                <a:srgbClr val="00AFEF"/>
              </a:buClr>
              <a:buFont typeface="Wingdings"/>
              <a:buChar char=""/>
              <a:tabLst>
                <a:tab pos="1008355" algn="l"/>
                <a:tab pos="1009201" algn="l"/>
              </a:tabLst>
            </a:pPr>
            <a:r>
              <a:rPr sz="1467" dirty="0">
                <a:solidFill>
                  <a:srgbClr val="4D4E5C"/>
                </a:solidFill>
                <a:latin typeface="Arial"/>
                <a:cs typeface="Arial"/>
              </a:rPr>
              <a:t>This feature </a:t>
            </a:r>
            <a:r>
              <a:rPr sz="1467" spc="-7" dirty="0">
                <a:solidFill>
                  <a:srgbClr val="4D4E5C"/>
                </a:solidFill>
                <a:latin typeface="Arial"/>
                <a:cs typeface="Arial"/>
              </a:rPr>
              <a:t>helps </a:t>
            </a:r>
            <a:r>
              <a:rPr sz="1467" dirty="0">
                <a:solidFill>
                  <a:srgbClr val="4D4E5C"/>
                </a:solidFill>
                <a:latin typeface="Arial"/>
                <a:cs typeface="Arial"/>
              </a:rPr>
              <a:t>to keep </a:t>
            </a:r>
            <a:r>
              <a:rPr sz="1467" spc="-7" dirty="0">
                <a:solidFill>
                  <a:srgbClr val="4D4E5C"/>
                </a:solidFill>
                <a:latin typeface="Arial"/>
                <a:cs typeface="Arial"/>
              </a:rPr>
              <a:t>Maven </a:t>
            </a:r>
            <a:r>
              <a:rPr sz="1467" dirty="0">
                <a:solidFill>
                  <a:srgbClr val="4D4E5C"/>
                </a:solidFill>
                <a:latin typeface="Arial"/>
                <a:cs typeface="Arial"/>
              </a:rPr>
              <a:t>core </a:t>
            </a:r>
            <a:r>
              <a:rPr sz="1467" spc="-7" dirty="0">
                <a:solidFill>
                  <a:srgbClr val="4D4E5C"/>
                </a:solidFill>
                <a:latin typeface="Arial"/>
                <a:cs typeface="Arial"/>
              </a:rPr>
              <a:t>small </a:t>
            </a:r>
            <a:r>
              <a:rPr sz="1467" spc="-13" dirty="0">
                <a:solidFill>
                  <a:srgbClr val="4D4E5C"/>
                </a:solidFill>
                <a:latin typeface="Arial"/>
                <a:cs typeface="Arial"/>
              </a:rPr>
              <a:t>with </a:t>
            </a:r>
            <a:r>
              <a:rPr sz="1467" spc="-7" dirty="0">
                <a:solidFill>
                  <a:srgbClr val="4D4E5C"/>
                </a:solidFill>
                <a:latin typeface="Arial"/>
                <a:cs typeface="Arial"/>
              </a:rPr>
              <a:t>basic</a:t>
            </a:r>
            <a:r>
              <a:rPr sz="1467" spc="-87" dirty="0">
                <a:solidFill>
                  <a:srgbClr val="4D4E5C"/>
                </a:solidFill>
                <a:latin typeface="Arial"/>
                <a:cs typeface="Arial"/>
              </a:rPr>
              <a:t> </a:t>
            </a:r>
            <a:r>
              <a:rPr sz="1467" spc="-7" dirty="0">
                <a:solidFill>
                  <a:srgbClr val="4D4E5C"/>
                </a:solidFill>
                <a:latin typeface="Arial"/>
                <a:cs typeface="Arial"/>
              </a:rPr>
              <a:t>functionalities</a:t>
            </a:r>
            <a:endParaRPr sz="1467">
              <a:latin typeface="Arial"/>
              <a:cs typeface="Arial"/>
            </a:endParaRPr>
          </a:p>
          <a:p>
            <a:pPr marL="1540048" marR="506294" lvl="2" indent="-303946">
              <a:lnSpc>
                <a:spcPts val="1280"/>
              </a:lnSpc>
              <a:spcBef>
                <a:spcPts val="793"/>
              </a:spcBef>
              <a:buClr>
                <a:srgbClr val="00AFEF"/>
              </a:buClr>
              <a:buFont typeface="Wingdings"/>
              <a:buChar char=""/>
              <a:tabLst>
                <a:tab pos="1540048" algn="l"/>
                <a:tab pos="1540895" algn="l"/>
              </a:tabLst>
            </a:pPr>
            <a:r>
              <a:rPr sz="1333" spc="-7" dirty="0">
                <a:solidFill>
                  <a:srgbClr val="4D4E5C"/>
                </a:solidFill>
                <a:latin typeface="Arial"/>
                <a:cs typeface="Arial"/>
              </a:rPr>
              <a:t>E.g. </a:t>
            </a:r>
            <a:r>
              <a:rPr sz="1333" spc="-13" dirty="0">
                <a:solidFill>
                  <a:srgbClr val="4D4E5C"/>
                </a:solidFill>
                <a:latin typeface="Arial"/>
                <a:cs typeface="Arial"/>
              </a:rPr>
              <a:t>Maven </a:t>
            </a:r>
            <a:r>
              <a:rPr sz="1333" spc="-7" dirty="0">
                <a:solidFill>
                  <a:srgbClr val="4D4E5C"/>
                </a:solidFill>
                <a:latin typeface="Arial"/>
                <a:cs typeface="Arial"/>
              </a:rPr>
              <a:t>core </a:t>
            </a:r>
            <a:r>
              <a:rPr sz="1333" spc="-13" dirty="0">
                <a:solidFill>
                  <a:srgbClr val="4D4E5C"/>
                </a:solidFill>
                <a:latin typeface="Arial"/>
                <a:cs typeface="Arial"/>
              </a:rPr>
              <a:t>doesn’t </a:t>
            </a:r>
            <a:r>
              <a:rPr sz="1333" spc="-7" dirty="0">
                <a:solidFill>
                  <a:srgbClr val="4D4E5C"/>
                </a:solidFill>
                <a:latin typeface="Arial"/>
                <a:cs typeface="Arial"/>
              </a:rPr>
              <a:t>know </a:t>
            </a:r>
            <a:r>
              <a:rPr sz="1333" spc="-13" dirty="0">
                <a:solidFill>
                  <a:srgbClr val="4D4E5C"/>
                </a:solidFill>
                <a:latin typeface="Arial"/>
                <a:cs typeface="Arial"/>
              </a:rPr>
              <a:t>how </a:t>
            </a:r>
            <a:r>
              <a:rPr sz="1333" spc="-7" dirty="0">
                <a:solidFill>
                  <a:srgbClr val="4D4E5C"/>
                </a:solidFill>
                <a:latin typeface="Arial"/>
                <a:cs typeface="Arial"/>
              </a:rPr>
              <a:t>to compile the </a:t>
            </a:r>
            <a:r>
              <a:rPr sz="1333" spc="-13" dirty="0">
                <a:solidFill>
                  <a:srgbClr val="4D4E5C"/>
                </a:solidFill>
                <a:latin typeface="Arial"/>
                <a:cs typeface="Arial"/>
              </a:rPr>
              <a:t>available </a:t>
            </a:r>
            <a:r>
              <a:rPr sz="1333" spc="-7" dirty="0">
                <a:solidFill>
                  <a:srgbClr val="4D4E5C"/>
                </a:solidFill>
                <a:latin typeface="Arial"/>
                <a:cs typeface="Arial"/>
              </a:rPr>
              <a:t>Java source code. </a:t>
            </a:r>
            <a:r>
              <a:rPr sz="1333" spc="-13" dirty="0">
                <a:solidFill>
                  <a:srgbClr val="4D4E5C"/>
                </a:solidFill>
                <a:latin typeface="Arial"/>
                <a:cs typeface="Arial"/>
              </a:rPr>
              <a:t>Compilation is handled by  </a:t>
            </a:r>
            <a:r>
              <a:rPr sz="1333" spc="-7" dirty="0">
                <a:solidFill>
                  <a:srgbClr val="4D4E5C"/>
                </a:solidFill>
                <a:latin typeface="Arial"/>
                <a:cs typeface="Arial"/>
              </a:rPr>
              <a:t>compiler</a:t>
            </a:r>
            <a:r>
              <a:rPr sz="1333" spc="-27" dirty="0">
                <a:solidFill>
                  <a:srgbClr val="4D4E5C"/>
                </a:solidFill>
                <a:latin typeface="Arial"/>
                <a:cs typeface="Arial"/>
              </a:rPr>
              <a:t> </a:t>
            </a:r>
            <a:r>
              <a:rPr sz="1333" spc="-13" dirty="0">
                <a:solidFill>
                  <a:srgbClr val="4D4E5C"/>
                </a:solidFill>
                <a:latin typeface="Arial"/>
                <a:cs typeface="Arial"/>
              </a:rPr>
              <a:t>plug-in</a:t>
            </a:r>
            <a:endParaRPr sz="1333">
              <a:latin typeface="Arial"/>
              <a:cs typeface="Arial"/>
            </a:endParaRPr>
          </a:p>
          <a:p>
            <a:pPr marL="1008355" lvl="1" indent="-381837">
              <a:spcBef>
                <a:spcPts val="453"/>
              </a:spcBef>
              <a:buClr>
                <a:srgbClr val="00AFEF"/>
              </a:buClr>
              <a:buFont typeface="Wingdings"/>
              <a:buChar char=""/>
              <a:tabLst>
                <a:tab pos="1008355" algn="l"/>
                <a:tab pos="1009201" algn="l"/>
              </a:tabLst>
            </a:pPr>
            <a:r>
              <a:rPr sz="1467" spc="-7" dirty="0">
                <a:solidFill>
                  <a:srgbClr val="4D4E5C"/>
                </a:solidFill>
                <a:latin typeface="Arial"/>
                <a:cs typeface="Arial"/>
              </a:rPr>
              <a:t>Additional </a:t>
            </a:r>
            <a:r>
              <a:rPr sz="1467" dirty="0">
                <a:solidFill>
                  <a:srgbClr val="4D4E5C"/>
                </a:solidFill>
                <a:latin typeface="Arial"/>
                <a:cs typeface="Arial"/>
              </a:rPr>
              <a:t>features can be </a:t>
            </a:r>
            <a:r>
              <a:rPr sz="1467" spc="-7" dirty="0">
                <a:solidFill>
                  <a:srgbClr val="4D4E5C"/>
                </a:solidFill>
                <a:latin typeface="Arial"/>
                <a:cs typeface="Arial"/>
              </a:rPr>
              <a:t>easily linked </a:t>
            </a:r>
            <a:r>
              <a:rPr sz="1467" spc="-13" dirty="0">
                <a:solidFill>
                  <a:srgbClr val="4D4E5C"/>
                </a:solidFill>
                <a:latin typeface="Arial"/>
                <a:cs typeface="Arial"/>
              </a:rPr>
              <a:t>with </a:t>
            </a:r>
            <a:r>
              <a:rPr sz="1467" spc="-7" dirty="0">
                <a:solidFill>
                  <a:srgbClr val="4D4E5C"/>
                </a:solidFill>
                <a:latin typeface="Arial"/>
                <a:cs typeface="Arial"/>
              </a:rPr>
              <a:t>suitable </a:t>
            </a:r>
            <a:r>
              <a:rPr sz="1467" dirty="0">
                <a:solidFill>
                  <a:srgbClr val="4D4E5C"/>
                </a:solidFill>
                <a:latin typeface="Arial"/>
                <a:cs typeface="Arial"/>
              </a:rPr>
              <a:t>plug</a:t>
            </a:r>
            <a:r>
              <a:rPr sz="1467" spc="20" dirty="0">
                <a:solidFill>
                  <a:srgbClr val="4D4E5C"/>
                </a:solidFill>
                <a:latin typeface="Arial"/>
                <a:cs typeface="Arial"/>
              </a:rPr>
              <a:t> </a:t>
            </a:r>
            <a:r>
              <a:rPr sz="1467" spc="-7" dirty="0">
                <a:solidFill>
                  <a:srgbClr val="4D4E5C"/>
                </a:solidFill>
                <a:latin typeface="Arial"/>
                <a:cs typeface="Arial"/>
              </a:rPr>
              <a:t>-ins</a:t>
            </a:r>
            <a:endParaRPr sz="1467">
              <a:latin typeface="Arial"/>
              <a:cs typeface="Arial"/>
            </a:endParaRPr>
          </a:p>
          <a:p>
            <a:pPr marL="325112" indent="-308179">
              <a:spcBef>
                <a:spcPts val="373"/>
              </a:spcBef>
              <a:buClr>
                <a:srgbClr val="00AFEF"/>
              </a:buClr>
              <a:buFont typeface="Wingdings"/>
              <a:buChar char=""/>
              <a:tabLst>
                <a:tab pos="325112" algn="l"/>
                <a:tab pos="325959" algn="l"/>
              </a:tabLst>
            </a:pPr>
            <a:r>
              <a:rPr sz="1733" spc="-13" dirty="0">
                <a:solidFill>
                  <a:srgbClr val="4D4E5C"/>
                </a:solidFill>
                <a:latin typeface="Arial"/>
                <a:cs typeface="Arial"/>
              </a:rPr>
              <a:t>Maven</a:t>
            </a:r>
            <a:r>
              <a:rPr sz="1733" spc="47" dirty="0">
                <a:solidFill>
                  <a:srgbClr val="4D4E5C"/>
                </a:solidFill>
                <a:latin typeface="Arial"/>
                <a:cs typeface="Arial"/>
              </a:rPr>
              <a:t> </a:t>
            </a:r>
            <a:r>
              <a:rPr sz="1733" spc="-7" dirty="0">
                <a:solidFill>
                  <a:srgbClr val="4D4E5C"/>
                </a:solidFill>
                <a:latin typeface="Arial"/>
                <a:cs typeface="Arial"/>
              </a:rPr>
              <a:t>Central</a:t>
            </a:r>
            <a:endParaRPr sz="1733">
              <a:latin typeface="Arial"/>
              <a:cs typeface="Arial"/>
            </a:endParaRPr>
          </a:p>
          <a:p>
            <a:pPr marL="1008355" lvl="1" indent="-381837">
              <a:spcBef>
                <a:spcPts val="460"/>
              </a:spcBef>
              <a:buClr>
                <a:srgbClr val="00AFEF"/>
              </a:buClr>
              <a:buFont typeface="Wingdings"/>
              <a:buChar char=""/>
              <a:tabLst>
                <a:tab pos="1008355" algn="l"/>
                <a:tab pos="1009201" algn="l"/>
              </a:tabLst>
            </a:pPr>
            <a:r>
              <a:rPr sz="1467" spc="-7" dirty="0">
                <a:solidFill>
                  <a:srgbClr val="4D4E5C"/>
                </a:solidFill>
                <a:latin typeface="Arial"/>
                <a:cs typeface="Arial"/>
              </a:rPr>
              <a:t>Maven </a:t>
            </a:r>
            <a:r>
              <a:rPr sz="1467" dirty="0">
                <a:solidFill>
                  <a:srgbClr val="4D4E5C"/>
                </a:solidFill>
                <a:latin typeface="Arial"/>
                <a:cs typeface="Arial"/>
              </a:rPr>
              <a:t>central repository </a:t>
            </a:r>
            <a:r>
              <a:rPr sz="1467" spc="-7" dirty="0">
                <a:solidFill>
                  <a:srgbClr val="4D4E5C"/>
                </a:solidFill>
                <a:latin typeface="Arial"/>
                <a:cs typeface="Arial"/>
              </a:rPr>
              <a:t>is </a:t>
            </a:r>
            <a:r>
              <a:rPr sz="1467" dirty="0">
                <a:solidFill>
                  <a:srgbClr val="4D4E5C"/>
                </a:solidFill>
                <a:latin typeface="Arial"/>
                <a:cs typeface="Arial"/>
              </a:rPr>
              <a:t>an open</a:t>
            </a:r>
            <a:r>
              <a:rPr sz="1467" spc="-73" dirty="0">
                <a:solidFill>
                  <a:srgbClr val="4D4E5C"/>
                </a:solidFill>
                <a:latin typeface="Arial"/>
                <a:cs typeface="Arial"/>
              </a:rPr>
              <a:t> </a:t>
            </a:r>
            <a:r>
              <a:rPr sz="1467" spc="-7" dirty="0">
                <a:solidFill>
                  <a:srgbClr val="4D4E5C"/>
                </a:solidFill>
                <a:latin typeface="Arial"/>
                <a:cs typeface="Arial"/>
              </a:rPr>
              <a:t>repository.</a:t>
            </a:r>
            <a:endParaRPr sz="1467">
              <a:latin typeface="Arial"/>
              <a:cs typeface="Arial"/>
            </a:endParaRPr>
          </a:p>
          <a:p>
            <a:pPr marL="1008355" lvl="1" indent="-381837">
              <a:spcBef>
                <a:spcPts val="447"/>
              </a:spcBef>
              <a:buClr>
                <a:srgbClr val="00AFEF"/>
              </a:buClr>
              <a:buFont typeface="Wingdings"/>
              <a:buChar char=""/>
              <a:tabLst>
                <a:tab pos="1008355" algn="l"/>
                <a:tab pos="1009201" algn="l"/>
              </a:tabLst>
            </a:pPr>
            <a:r>
              <a:rPr sz="1467" spc="-13" dirty="0">
                <a:solidFill>
                  <a:srgbClr val="4D4E5C"/>
                </a:solidFill>
                <a:latin typeface="Arial"/>
                <a:cs typeface="Arial"/>
              </a:rPr>
              <a:t>Maven’s </a:t>
            </a:r>
            <a:r>
              <a:rPr sz="1467" dirty="0">
                <a:solidFill>
                  <a:srgbClr val="4D4E5C"/>
                </a:solidFill>
                <a:latin typeface="Arial"/>
                <a:cs typeface="Arial"/>
              </a:rPr>
              <a:t>central </a:t>
            </a:r>
            <a:r>
              <a:rPr sz="1467" spc="-7" dirty="0">
                <a:solidFill>
                  <a:srgbClr val="4D4E5C"/>
                </a:solidFill>
                <a:latin typeface="Arial"/>
                <a:cs typeface="Arial"/>
              </a:rPr>
              <a:t>repository hosts libraries. </a:t>
            </a:r>
            <a:r>
              <a:rPr sz="1467" dirty="0">
                <a:solidFill>
                  <a:srgbClr val="4D4E5C"/>
                </a:solidFill>
                <a:latin typeface="Arial"/>
                <a:cs typeface="Arial"/>
              </a:rPr>
              <a:t>These </a:t>
            </a:r>
            <a:r>
              <a:rPr sz="1467" spc="-7" dirty="0">
                <a:solidFill>
                  <a:srgbClr val="4D4E5C"/>
                </a:solidFill>
                <a:latin typeface="Arial"/>
                <a:cs typeface="Arial"/>
              </a:rPr>
              <a:t>libraries </a:t>
            </a:r>
            <a:r>
              <a:rPr sz="1467" dirty="0">
                <a:solidFill>
                  <a:srgbClr val="4D4E5C"/>
                </a:solidFill>
                <a:latin typeface="Arial"/>
                <a:cs typeface="Arial"/>
              </a:rPr>
              <a:t>can </a:t>
            </a:r>
            <a:r>
              <a:rPr sz="1467" spc="-7" dirty="0">
                <a:solidFill>
                  <a:srgbClr val="4D4E5C"/>
                </a:solidFill>
                <a:latin typeface="Arial"/>
                <a:cs typeface="Arial"/>
              </a:rPr>
              <a:t>be used in your</a:t>
            </a:r>
            <a:r>
              <a:rPr sz="1467" spc="-80" dirty="0">
                <a:solidFill>
                  <a:srgbClr val="4D4E5C"/>
                </a:solidFill>
                <a:latin typeface="Arial"/>
                <a:cs typeface="Arial"/>
              </a:rPr>
              <a:t> </a:t>
            </a:r>
            <a:r>
              <a:rPr sz="1467" spc="-13" dirty="0">
                <a:solidFill>
                  <a:srgbClr val="4D4E5C"/>
                </a:solidFill>
                <a:latin typeface="Arial"/>
                <a:cs typeface="Arial"/>
              </a:rPr>
              <a:t>build.</a:t>
            </a:r>
            <a:endParaRPr sz="1467">
              <a:latin typeface="Arial"/>
              <a:cs typeface="Arial"/>
            </a:endParaRPr>
          </a:p>
          <a:p>
            <a:pPr marL="1008355" lvl="1" indent="-381837">
              <a:spcBef>
                <a:spcPts val="447"/>
              </a:spcBef>
              <a:buClr>
                <a:srgbClr val="00AFEF"/>
              </a:buClr>
              <a:buFont typeface="Wingdings"/>
              <a:buChar char=""/>
              <a:tabLst>
                <a:tab pos="1008355" algn="l"/>
                <a:tab pos="1009201" algn="l"/>
              </a:tabLst>
            </a:pPr>
            <a:r>
              <a:rPr sz="1467" spc="-7" dirty="0">
                <a:solidFill>
                  <a:srgbClr val="4D4E5C"/>
                </a:solidFill>
                <a:latin typeface="Arial"/>
                <a:cs typeface="Arial"/>
              </a:rPr>
              <a:t>Maven build </a:t>
            </a:r>
            <a:r>
              <a:rPr sz="1467" dirty="0">
                <a:solidFill>
                  <a:srgbClr val="4D4E5C"/>
                </a:solidFill>
                <a:latin typeface="Arial"/>
                <a:cs typeface="Arial"/>
              </a:rPr>
              <a:t>uses by default the central </a:t>
            </a:r>
            <a:r>
              <a:rPr sz="1467" spc="-7" dirty="0">
                <a:solidFill>
                  <a:srgbClr val="4D4E5C"/>
                </a:solidFill>
                <a:latin typeface="Arial"/>
                <a:cs typeface="Arial"/>
              </a:rPr>
              <a:t>library </a:t>
            </a:r>
            <a:r>
              <a:rPr sz="1467" dirty="0">
                <a:solidFill>
                  <a:srgbClr val="4D4E5C"/>
                </a:solidFill>
                <a:latin typeface="Arial"/>
                <a:cs typeface="Arial"/>
              </a:rPr>
              <a:t>to search </a:t>
            </a:r>
            <a:r>
              <a:rPr sz="1467" spc="7" dirty="0">
                <a:solidFill>
                  <a:srgbClr val="4D4E5C"/>
                </a:solidFill>
                <a:latin typeface="Arial"/>
                <a:cs typeface="Arial"/>
              </a:rPr>
              <a:t>for </a:t>
            </a:r>
            <a:r>
              <a:rPr sz="1467" dirty="0">
                <a:solidFill>
                  <a:srgbClr val="4D4E5C"/>
                </a:solidFill>
                <a:latin typeface="Arial"/>
                <a:cs typeface="Arial"/>
              </a:rPr>
              <a:t>required</a:t>
            </a:r>
            <a:r>
              <a:rPr sz="1467" spc="-247" dirty="0">
                <a:solidFill>
                  <a:srgbClr val="4D4E5C"/>
                </a:solidFill>
                <a:latin typeface="Arial"/>
                <a:cs typeface="Arial"/>
              </a:rPr>
              <a:t> </a:t>
            </a:r>
            <a:r>
              <a:rPr sz="1467" spc="-7" dirty="0">
                <a:solidFill>
                  <a:srgbClr val="4D4E5C"/>
                </a:solidFill>
                <a:latin typeface="Arial"/>
                <a:cs typeface="Arial"/>
              </a:rPr>
              <a:t>libraries.</a:t>
            </a:r>
            <a:endParaRPr sz="1467">
              <a:latin typeface="Arial"/>
              <a:cs typeface="Arial"/>
            </a:endParaRPr>
          </a:p>
        </p:txBody>
      </p:sp>
    </p:spTree>
    <p:extLst>
      <p:ext uri="{BB962C8B-B14F-4D97-AF65-F5344CB8AC3E}">
        <p14:creationId xmlns:p14="http://schemas.microsoft.com/office/powerpoint/2010/main" val="135455756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071417" y="307001"/>
            <a:ext cx="2248091" cy="479618"/>
          </a:xfrm>
          <a:prstGeom prst="rect">
            <a:avLst/>
          </a:prstGeom>
        </p:spPr>
        <p:txBody>
          <a:bodyPr vert="horz" wrap="square" lIns="0" tIns="17780" rIns="0" bIns="0" numCol="1" rtlCol="0" anchor="t" anchorCtr="0" compatLnSpc="1">
            <a:prstTxWarp prst="textNoShape">
              <a:avLst/>
            </a:prstTxWarp>
            <a:spAutoFit/>
          </a:bodyPr>
          <a:lstStyle/>
          <a:p>
            <a:pPr marL="16933">
              <a:spcBef>
                <a:spcPts val="140"/>
              </a:spcBef>
            </a:pPr>
            <a:r>
              <a:rPr dirty="0" smtClean="0"/>
              <a:t>Build</a:t>
            </a:r>
            <a:r>
              <a:rPr spc="-100" dirty="0" smtClean="0"/>
              <a:t> </a:t>
            </a:r>
            <a:r>
              <a:rPr dirty="0" smtClean="0"/>
              <a:t>Process</a:t>
            </a:r>
            <a:endParaRPr dirty="0"/>
          </a:p>
        </p:txBody>
      </p:sp>
      <p:sp>
        <p:nvSpPr>
          <p:cNvPr id="3" name="object 3"/>
          <p:cNvSpPr txBox="1"/>
          <p:nvPr/>
        </p:nvSpPr>
        <p:spPr>
          <a:xfrm>
            <a:off x="284208" y="874097"/>
            <a:ext cx="11548533" cy="1487651"/>
          </a:xfrm>
          <a:prstGeom prst="rect">
            <a:avLst/>
          </a:prstGeom>
        </p:spPr>
        <p:txBody>
          <a:bodyPr vert="horz" wrap="square" lIns="0" tIns="132080" rIns="0" bIns="0" rtlCol="0">
            <a:spAutoFit/>
          </a:bodyPr>
          <a:lstStyle/>
          <a:p>
            <a:pPr marL="325112" indent="-308179">
              <a:spcBef>
                <a:spcPts val="1040"/>
              </a:spcBef>
              <a:buClr>
                <a:srgbClr val="00AFEF"/>
              </a:buClr>
              <a:buFont typeface="Wingdings"/>
              <a:buChar char=""/>
              <a:tabLst>
                <a:tab pos="325959" algn="l"/>
              </a:tabLst>
            </a:pPr>
            <a:r>
              <a:rPr sz="2667" dirty="0">
                <a:solidFill>
                  <a:srgbClr val="4D4E5C"/>
                </a:solidFill>
                <a:latin typeface="Arial"/>
                <a:cs typeface="Arial"/>
              </a:rPr>
              <a:t>Maven </a:t>
            </a:r>
            <a:r>
              <a:rPr sz="2667" b="1" dirty="0">
                <a:solidFill>
                  <a:srgbClr val="FF0000"/>
                </a:solidFill>
                <a:latin typeface="Arial"/>
                <a:cs typeface="Arial"/>
              </a:rPr>
              <a:t>P</a:t>
            </a:r>
            <a:r>
              <a:rPr sz="2667" dirty="0">
                <a:solidFill>
                  <a:srgbClr val="4D4E5C"/>
                </a:solidFill>
                <a:latin typeface="Arial"/>
                <a:cs typeface="Arial"/>
              </a:rPr>
              <a:t>roject </a:t>
            </a:r>
            <a:r>
              <a:rPr sz="2667" b="1" dirty="0">
                <a:solidFill>
                  <a:srgbClr val="FF0000"/>
                </a:solidFill>
                <a:latin typeface="Arial"/>
                <a:cs typeface="Arial"/>
              </a:rPr>
              <a:t>O</a:t>
            </a:r>
            <a:r>
              <a:rPr sz="2667" dirty="0">
                <a:solidFill>
                  <a:srgbClr val="4D4E5C"/>
                </a:solidFill>
                <a:latin typeface="Arial"/>
                <a:cs typeface="Arial"/>
              </a:rPr>
              <a:t>bject </a:t>
            </a:r>
            <a:r>
              <a:rPr sz="2667" b="1" dirty="0">
                <a:solidFill>
                  <a:srgbClr val="FF0000"/>
                </a:solidFill>
                <a:latin typeface="Arial"/>
                <a:cs typeface="Arial"/>
              </a:rPr>
              <a:t>M</a:t>
            </a:r>
            <a:r>
              <a:rPr sz="2667" dirty="0">
                <a:solidFill>
                  <a:srgbClr val="4D4E5C"/>
                </a:solidFill>
                <a:latin typeface="Arial"/>
                <a:cs typeface="Arial"/>
              </a:rPr>
              <a:t>odel (POM) is a fundamental unit of work in</a:t>
            </a:r>
            <a:r>
              <a:rPr sz="2667" spc="-293" dirty="0">
                <a:solidFill>
                  <a:srgbClr val="4D4E5C"/>
                </a:solidFill>
                <a:latin typeface="Arial"/>
                <a:cs typeface="Arial"/>
              </a:rPr>
              <a:t> </a:t>
            </a:r>
            <a:r>
              <a:rPr sz="2667" dirty="0">
                <a:solidFill>
                  <a:srgbClr val="4D4E5C"/>
                </a:solidFill>
                <a:latin typeface="Arial"/>
                <a:cs typeface="Arial"/>
              </a:rPr>
              <a:t>Maven</a:t>
            </a:r>
            <a:endParaRPr sz="2667">
              <a:latin typeface="Arial"/>
              <a:cs typeface="Arial"/>
            </a:endParaRPr>
          </a:p>
          <a:p>
            <a:pPr marL="1008355" lvl="1" indent="-381837">
              <a:spcBef>
                <a:spcPts val="807"/>
              </a:spcBef>
              <a:buClr>
                <a:srgbClr val="00AFEF"/>
              </a:buClr>
              <a:buFont typeface="Wingdings"/>
              <a:buChar char=""/>
              <a:tabLst>
                <a:tab pos="1008355" algn="l"/>
                <a:tab pos="1009201" algn="l"/>
              </a:tabLst>
            </a:pPr>
            <a:r>
              <a:rPr sz="2400" dirty="0">
                <a:solidFill>
                  <a:srgbClr val="4D4E5C"/>
                </a:solidFill>
                <a:latin typeface="Arial"/>
                <a:cs typeface="Arial"/>
              </a:rPr>
              <a:t>POM </a:t>
            </a:r>
            <a:r>
              <a:rPr sz="2400" spc="-13" dirty="0">
                <a:solidFill>
                  <a:srgbClr val="4D4E5C"/>
                </a:solidFill>
                <a:latin typeface="Arial"/>
                <a:cs typeface="Arial"/>
              </a:rPr>
              <a:t>is </a:t>
            </a:r>
            <a:r>
              <a:rPr sz="2400" spc="-7" dirty="0">
                <a:solidFill>
                  <a:srgbClr val="4D4E5C"/>
                </a:solidFill>
                <a:latin typeface="Arial"/>
                <a:cs typeface="Arial"/>
              </a:rPr>
              <a:t>an </a:t>
            </a:r>
            <a:r>
              <a:rPr sz="2400" spc="-13" dirty="0">
                <a:solidFill>
                  <a:srgbClr val="4D4E5C"/>
                </a:solidFill>
                <a:latin typeface="Arial"/>
                <a:cs typeface="Arial"/>
              </a:rPr>
              <a:t>XML</a:t>
            </a:r>
            <a:r>
              <a:rPr sz="2400" spc="-67" dirty="0">
                <a:solidFill>
                  <a:srgbClr val="4D4E5C"/>
                </a:solidFill>
                <a:latin typeface="Arial"/>
                <a:cs typeface="Arial"/>
              </a:rPr>
              <a:t> </a:t>
            </a:r>
            <a:r>
              <a:rPr sz="2400" spc="-7" dirty="0">
                <a:solidFill>
                  <a:srgbClr val="4D4E5C"/>
                </a:solidFill>
                <a:latin typeface="Arial"/>
                <a:cs typeface="Arial"/>
              </a:rPr>
              <a:t>file.</a:t>
            </a:r>
            <a:endParaRPr sz="2400">
              <a:latin typeface="Arial"/>
              <a:cs typeface="Arial"/>
            </a:endParaRPr>
          </a:p>
          <a:p>
            <a:pPr marL="1008355" lvl="1" indent="-381837">
              <a:spcBef>
                <a:spcPts val="807"/>
              </a:spcBef>
              <a:buClr>
                <a:srgbClr val="00AFEF"/>
              </a:buClr>
              <a:buFont typeface="Wingdings"/>
              <a:buChar char=""/>
              <a:tabLst>
                <a:tab pos="1008355" algn="l"/>
                <a:tab pos="1009201" algn="l"/>
              </a:tabLst>
            </a:pPr>
            <a:r>
              <a:rPr sz="2400" spc="-7" dirty="0">
                <a:solidFill>
                  <a:srgbClr val="4D4E5C"/>
                </a:solidFill>
                <a:latin typeface="Arial"/>
                <a:cs typeface="Arial"/>
              </a:rPr>
              <a:t>This </a:t>
            </a:r>
            <a:r>
              <a:rPr sz="2400" spc="-13" dirty="0">
                <a:solidFill>
                  <a:srgbClr val="4D4E5C"/>
                </a:solidFill>
                <a:latin typeface="Arial"/>
                <a:cs typeface="Arial"/>
              </a:rPr>
              <a:t>XML </a:t>
            </a:r>
            <a:r>
              <a:rPr sz="2400" spc="-7" dirty="0">
                <a:solidFill>
                  <a:srgbClr val="4D4E5C"/>
                </a:solidFill>
                <a:latin typeface="Arial"/>
                <a:cs typeface="Arial"/>
              </a:rPr>
              <a:t>file contains information about project </a:t>
            </a:r>
            <a:r>
              <a:rPr sz="2400" dirty="0">
                <a:solidFill>
                  <a:srgbClr val="4D4E5C"/>
                </a:solidFill>
                <a:latin typeface="Arial"/>
                <a:cs typeface="Arial"/>
              </a:rPr>
              <a:t>&amp; </a:t>
            </a:r>
            <a:r>
              <a:rPr sz="2400" spc="-7" dirty="0">
                <a:solidFill>
                  <a:srgbClr val="4D4E5C"/>
                </a:solidFill>
                <a:latin typeface="Arial"/>
                <a:cs typeface="Arial"/>
              </a:rPr>
              <a:t>configuration</a:t>
            </a:r>
            <a:r>
              <a:rPr sz="2400" spc="67" dirty="0">
                <a:solidFill>
                  <a:srgbClr val="4D4E5C"/>
                </a:solidFill>
                <a:latin typeface="Arial"/>
                <a:cs typeface="Arial"/>
              </a:rPr>
              <a:t> </a:t>
            </a:r>
            <a:r>
              <a:rPr sz="2400" spc="-7" dirty="0">
                <a:solidFill>
                  <a:srgbClr val="4D4E5C"/>
                </a:solidFill>
                <a:latin typeface="Arial"/>
                <a:cs typeface="Arial"/>
              </a:rPr>
              <a:t>details</a:t>
            </a:r>
            <a:endParaRPr sz="2400">
              <a:latin typeface="Arial"/>
              <a:cs typeface="Arial"/>
            </a:endParaRPr>
          </a:p>
        </p:txBody>
      </p:sp>
      <p:sp>
        <p:nvSpPr>
          <p:cNvPr id="4" name="object 4"/>
          <p:cNvSpPr/>
          <p:nvPr/>
        </p:nvSpPr>
        <p:spPr>
          <a:xfrm>
            <a:off x="2300223" y="2824480"/>
            <a:ext cx="7215632" cy="3397504"/>
          </a:xfrm>
          <a:prstGeom prst="rect">
            <a:avLst/>
          </a:prstGeom>
          <a:blipFill>
            <a:blip r:embed="rId2" cstate="print"/>
            <a:stretch>
              <a:fillRect/>
            </a:stretch>
          </a:blipFill>
        </p:spPr>
        <p:txBody>
          <a:bodyPr wrap="square" lIns="0" tIns="0" rIns="0" bIns="0" rtlCol="0"/>
          <a:lstStyle/>
          <a:p>
            <a:endParaRPr/>
          </a:p>
        </p:txBody>
      </p:sp>
      <p:sp>
        <p:nvSpPr>
          <p:cNvPr id="5" name="object 5"/>
          <p:cNvSpPr/>
          <p:nvPr/>
        </p:nvSpPr>
        <p:spPr>
          <a:xfrm>
            <a:off x="2515616" y="4188037"/>
            <a:ext cx="879889" cy="414612"/>
          </a:xfrm>
          <a:prstGeom prst="rect">
            <a:avLst/>
          </a:prstGeom>
          <a:blipFill>
            <a:blip r:embed="rId3" cstate="print"/>
            <a:stretch>
              <a:fillRect/>
            </a:stretch>
          </a:blipFill>
        </p:spPr>
        <p:txBody>
          <a:bodyPr wrap="square" lIns="0" tIns="0" rIns="0" bIns="0" rtlCol="0"/>
          <a:lstStyle/>
          <a:p>
            <a:endParaRPr/>
          </a:p>
        </p:txBody>
      </p:sp>
      <p:sp>
        <p:nvSpPr>
          <p:cNvPr id="6" name="object 6"/>
          <p:cNvSpPr/>
          <p:nvPr/>
        </p:nvSpPr>
        <p:spPr>
          <a:xfrm>
            <a:off x="2562352" y="4122894"/>
            <a:ext cx="798576" cy="623857"/>
          </a:xfrm>
          <a:prstGeom prst="rect">
            <a:avLst/>
          </a:prstGeom>
          <a:blipFill>
            <a:blip r:embed="rId4" cstate="print"/>
            <a:stretch>
              <a:fillRect/>
            </a:stretch>
          </a:blipFill>
        </p:spPr>
        <p:txBody>
          <a:bodyPr wrap="square" lIns="0" tIns="0" rIns="0" bIns="0" rtlCol="0"/>
          <a:lstStyle/>
          <a:p>
            <a:endParaRPr/>
          </a:p>
        </p:txBody>
      </p:sp>
      <p:sp>
        <p:nvSpPr>
          <p:cNvPr id="7" name="object 7"/>
          <p:cNvSpPr/>
          <p:nvPr/>
        </p:nvSpPr>
        <p:spPr>
          <a:xfrm>
            <a:off x="2572511" y="4147329"/>
            <a:ext cx="772160" cy="517127"/>
          </a:xfrm>
          <a:prstGeom prst="rect">
            <a:avLst/>
          </a:prstGeom>
          <a:blipFill>
            <a:blip r:embed="rId5" cstate="print"/>
            <a:stretch>
              <a:fillRect/>
            </a:stretch>
          </a:blipFill>
        </p:spPr>
        <p:txBody>
          <a:bodyPr wrap="square" lIns="0" tIns="0" rIns="0" bIns="0" rtlCol="0"/>
          <a:lstStyle/>
          <a:p>
            <a:endParaRPr/>
          </a:p>
        </p:txBody>
      </p:sp>
      <p:sp>
        <p:nvSpPr>
          <p:cNvPr id="8" name="object 8"/>
          <p:cNvSpPr txBox="1"/>
          <p:nvPr/>
        </p:nvSpPr>
        <p:spPr>
          <a:xfrm>
            <a:off x="2751836" y="4207257"/>
            <a:ext cx="415713" cy="294953"/>
          </a:xfrm>
          <a:prstGeom prst="rect">
            <a:avLst/>
          </a:prstGeom>
        </p:spPr>
        <p:txBody>
          <a:bodyPr vert="horz" wrap="square" lIns="0" tIns="17780" rIns="0" bIns="0" rtlCol="0">
            <a:spAutoFit/>
          </a:bodyPr>
          <a:lstStyle/>
          <a:p>
            <a:pPr marL="16933">
              <a:spcBef>
                <a:spcPts val="140"/>
              </a:spcBef>
            </a:pPr>
            <a:r>
              <a:rPr spc="-13" dirty="0">
                <a:latin typeface="Arial"/>
                <a:cs typeface="Arial"/>
              </a:rPr>
              <a:t>.</a:t>
            </a:r>
            <a:r>
              <a:rPr dirty="0">
                <a:latin typeface="Arial"/>
                <a:cs typeface="Arial"/>
              </a:rPr>
              <a:t>m2</a:t>
            </a:r>
            <a:endParaRPr>
              <a:latin typeface="Arial"/>
              <a:cs typeface="Arial"/>
            </a:endParaRPr>
          </a:p>
        </p:txBody>
      </p:sp>
    </p:spTree>
    <p:extLst>
      <p:ext uri="{BB962C8B-B14F-4D97-AF65-F5344CB8AC3E}">
        <p14:creationId xmlns:p14="http://schemas.microsoft.com/office/powerpoint/2010/main" val="360199411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object 10"/>
          <p:cNvSpPr txBox="1">
            <a:spLocks noGrp="1"/>
          </p:cNvSpPr>
          <p:nvPr>
            <p:ph type="title"/>
          </p:nvPr>
        </p:nvSpPr>
        <p:spPr>
          <a:prstGeom prst="rect">
            <a:avLst/>
          </a:prstGeom>
        </p:spPr>
        <p:txBody>
          <a:bodyPr vert="horz" wrap="square" lIns="0" tIns="16933" rIns="0" bIns="0" numCol="1" rtlCol="0" anchor="ctr" anchorCtr="0" compatLnSpc="1">
            <a:prstTxWarp prst="textNoShape">
              <a:avLst/>
            </a:prstTxWarp>
            <a:spAutoFit/>
          </a:bodyPr>
          <a:lstStyle/>
          <a:p>
            <a:pPr marL="16933">
              <a:spcBef>
                <a:spcPts val="133"/>
              </a:spcBef>
            </a:pPr>
            <a:r>
              <a:rPr sz="4800" dirty="0"/>
              <a:t>Lab 1: </a:t>
            </a:r>
            <a:r>
              <a:rPr sz="4800" spc="-7" dirty="0"/>
              <a:t>Environment</a:t>
            </a:r>
            <a:r>
              <a:rPr sz="4800" spc="-47" dirty="0"/>
              <a:t> </a:t>
            </a:r>
            <a:r>
              <a:rPr sz="4800" spc="-7" dirty="0"/>
              <a:t>Setup</a:t>
            </a:r>
            <a:endParaRPr sz="4800"/>
          </a:p>
        </p:txBody>
      </p:sp>
    </p:spTree>
    <p:extLst>
      <p:ext uri="{BB962C8B-B14F-4D97-AF65-F5344CB8AC3E}">
        <p14:creationId xmlns:p14="http://schemas.microsoft.com/office/powerpoint/2010/main" val="336257112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126836" y="307001"/>
            <a:ext cx="2272146" cy="479618"/>
          </a:xfrm>
          <a:prstGeom prst="rect">
            <a:avLst/>
          </a:prstGeom>
        </p:spPr>
        <p:txBody>
          <a:bodyPr vert="horz" wrap="square" lIns="0" tIns="17780" rIns="0" bIns="0" numCol="1" rtlCol="0" anchor="t" anchorCtr="0" compatLnSpc="1">
            <a:prstTxWarp prst="textNoShape">
              <a:avLst/>
            </a:prstTxWarp>
            <a:spAutoFit/>
          </a:bodyPr>
          <a:lstStyle/>
          <a:p>
            <a:pPr marL="16933">
              <a:spcBef>
                <a:spcPts val="140"/>
              </a:spcBef>
            </a:pPr>
            <a:r>
              <a:rPr dirty="0"/>
              <a:t>Obje</a:t>
            </a:r>
            <a:r>
              <a:rPr spc="7" dirty="0"/>
              <a:t>c</a:t>
            </a:r>
            <a:r>
              <a:rPr dirty="0"/>
              <a:t>tives</a:t>
            </a:r>
          </a:p>
        </p:txBody>
      </p:sp>
      <p:sp>
        <p:nvSpPr>
          <p:cNvPr id="3" name="object 3"/>
          <p:cNvSpPr txBox="1"/>
          <p:nvPr/>
        </p:nvSpPr>
        <p:spPr>
          <a:xfrm>
            <a:off x="284209" y="994156"/>
            <a:ext cx="9464887" cy="428387"/>
          </a:xfrm>
          <a:prstGeom prst="rect">
            <a:avLst/>
          </a:prstGeom>
        </p:spPr>
        <p:txBody>
          <a:bodyPr vert="horz" wrap="square" lIns="0" tIns="17780" rIns="0" bIns="0" rtlCol="0">
            <a:spAutoFit/>
          </a:bodyPr>
          <a:lstStyle/>
          <a:p>
            <a:pPr marL="325112" indent="-308179">
              <a:spcBef>
                <a:spcPts val="140"/>
              </a:spcBef>
              <a:buClr>
                <a:srgbClr val="00AFEF"/>
              </a:buClr>
              <a:buFont typeface="Wingdings"/>
              <a:buChar char=""/>
              <a:tabLst>
                <a:tab pos="325959" algn="l"/>
              </a:tabLst>
            </a:pPr>
            <a:r>
              <a:rPr sz="2667" dirty="0">
                <a:solidFill>
                  <a:srgbClr val="4D4E5C"/>
                </a:solidFill>
                <a:latin typeface="Arial"/>
                <a:cs typeface="Arial"/>
              </a:rPr>
              <a:t>Install and set environment variables for using Java &amp;</a:t>
            </a:r>
            <a:r>
              <a:rPr sz="2667" spc="-233" dirty="0">
                <a:solidFill>
                  <a:srgbClr val="4D4E5C"/>
                </a:solidFill>
                <a:latin typeface="Arial"/>
                <a:cs typeface="Arial"/>
              </a:rPr>
              <a:t> </a:t>
            </a:r>
            <a:r>
              <a:rPr sz="2667" dirty="0">
                <a:solidFill>
                  <a:srgbClr val="4D4E5C"/>
                </a:solidFill>
                <a:latin typeface="Arial"/>
                <a:cs typeface="Arial"/>
              </a:rPr>
              <a:t>Maven</a:t>
            </a:r>
            <a:endParaRPr sz="2667">
              <a:latin typeface="Arial"/>
              <a:cs typeface="Arial"/>
            </a:endParaRPr>
          </a:p>
        </p:txBody>
      </p:sp>
    </p:spTree>
    <p:extLst>
      <p:ext uri="{BB962C8B-B14F-4D97-AF65-F5344CB8AC3E}">
        <p14:creationId xmlns:p14="http://schemas.microsoft.com/office/powerpoint/2010/main" val="166985479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006764" y="307001"/>
            <a:ext cx="4960271" cy="479618"/>
          </a:xfrm>
          <a:prstGeom prst="rect">
            <a:avLst/>
          </a:prstGeom>
        </p:spPr>
        <p:txBody>
          <a:bodyPr vert="horz" wrap="square" lIns="0" tIns="17780" rIns="0" bIns="0" numCol="1" rtlCol="0" anchor="t" anchorCtr="0" compatLnSpc="1">
            <a:prstTxWarp prst="textNoShape">
              <a:avLst/>
            </a:prstTxWarp>
            <a:spAutoFit/>
          </a:bodyPr>
          <a:lstStyle/>
          <a:p>
            <a:pPr marL="16933">
              <a:spcBef>
                <a:spcPts val="140"/>
              </a:spcBef>
            </a:pPr>
            <a:r>
              <a:rPr dirty="0"/>
              <a:t>Step 1: Java</a:t>
            </a:r>
            <a:r>
              <a:rPr spc="-80" dirty="0"/>
              <a:t> </a:t>
            </a:r>
            <a:r>
              <a:rPr dirty="0"/>
              <a:t>Configuration</a:t>
            </a:r>
          </a:p>
        </p:txBody>
      </p:sp>
      <p:sp>
        <p:nvSpPr>
          <p:cNvPr id="3" name="object 3"/>
          <p:cNvSpPr txBox="1"/>
          <p:nvPr/>
        </p:nvSpPr>
        <p:spPr>
          <a:xfrm>
            <a:off x="764500" y="786619"/>
            <a:ext cx="8384540" cy="5555921"/>
          </a:xfrm>
          <a:prstGeom prst="rect">
            <a:avLst/>
          </a:prstGeom>
        </p:spPr>
        <p:txBody>
          <a:bodyPr vert="horz" wrap="square" lIns="0" tIns="65192" rIns="0" bIns="0" rtlCol="0">
            <a:spAutoFit/>
          </a:bodyPr>
          <a:lstStyle/>
          <a:p>
            <a:pPr marL="325112" indent="-308179">
              <a:spcBef>
                <a:spcPts val="512"/>
              </a:spcBef>
              <a:buClr>
                <a:srgbClr val="00AFEF"/>
              </a:buClr>
              <a:buFont typeface="Wingdings"/>
              <a:buChar char=""/>
              <a:tabLst>
                <a:tab pos="325112" algn="l"/>
                <a:tab pos="325959" algn="l"/>
              </a:tabLst>
            </a:pPr>
            <a:r>
              <a:rPr sz="2267" spc="-7" dirty="0">
                <a:solidFill>
                  <a:srgbClr val="4D4E5C"/>
                </a:solidFill>
                <a:latin typeface="Arial"/>
                <a:cs typeface="Arial"/>
              </a:rPr>
              <a:t>System</a:t>
            </a:r>
            <a:r>
              <a:rPr sz="2267" spc="13" dirty="0">
                <a:solidFill>
                  <a:srgbClr val="4D4E5C"/>
                </a:solidFill>
                <a:latin typeface="Arial"/>
                <a:cs typeface="Arial"/>
              </a:rPr>
              <a:t> </a:t>
            </a:r>
            <a:r>
              <a:rPr sz="2267" dirty="0">
                <a:solidFill>
                  <a:srgbClr val="4D4E5C"/>
                </a:solidFill>
                <a:latin typeface="Arial"/>
                <a:cs typeface="Arial"/>
              </a:rPr>
              <a:t>Requirement</a:t>
            </a:r>
            <a:endParaRPr sz="2267">
              <a:latin typeface="Arial"/>
              <a:cs typeface="Arial"/>
            </a:endParaRPr>
          </a:p>
          <a:p>
            <a:pPr marL="1008355" lvl="1" indent="-381837">
              <a:spcBef>
                <a:spcPts val="327"/>
              </a:spcBef>
              <a:buClr>
                <a:srgbClr val="00AFEF"/>
              </a:buClr>
              <a:buFont typeface="Wingdings"/>
              <a:buChar char=""/>
              <a:tabLst>
                <a:tab pos="1008355" algn="l"/>
                <a:tab pos="1009201" algn="l"/>
              </a:tabLst>
            </a:pPr>
            <a:r>
              <a:rPr sz="2000" spc="-7" dirty="0">
                <a:solidFill>
                  <a:srgbClr val="4D4E5C"/>
                </a:solidFill>
                <a:latin typeface="Arial"/>
                <a:cs typeface="Arial"/>
              </a:rPr>
              <a:t>JDK version: 1.5 or</a:t>
            </a:r>
            <a:r>
              <a:rPr sz="2000" spc="-40" dirty="0">
                <a:solidFill>
                  <a:srgbClr val="4D4E5C"/>
                </a:solidFill>
                <a:latin typeface="Arial"/>
                <a:cs typeface="Arial"/>
              </a:rPr>
              <a:t> </a:t>
            </a:r>
            <a:r>
              <a:rPr sz="2000" spc="-7" dirty="0">
                <a:solidFill>
                  <a:srgbClr val="4D4E5C"/>
                </a:solidFill>
                <a:latin typeface="Arial"/>
                <a:cs typeface="Arial"/>
              </a:rPr>
              <a:t>above</a:t>
            </a:r>
            <a:endParaRPr sz="2000">
              <a:latin typeface="Arial"/>
              <a:cs typeface="Arial"/>
            </a:endParaRPr>
          </a:p>
          <a:p>
            <a:pPr marL="1008355" lvl="1" indent="-381837">
              <a:spcBef>
                <a:spcPts val="320"/>
              </a:spcBef>
              <a:buClr>
                <a:srgbClr val="00AFEF"/>
              </a:buClr>
              <a:buFont typeface="Wingdings"/>
              <a:buChar char=""/>
              <a:tabLst>
                <a:tab pos="1008355" algn="l"/>
                <a:tab pos="1009201" algn="l"/>
                <a:tab pos="3674441" algn="l"/>
              </a:tabLst>
            </a:pPr>
            <a:r>
              <a:rPr sz="2000" spc="-7" dirty="0">
                <a:solidFill>
                  <a:srgbClr val="4D4E5C"/>
                </a:solidFill>
                <a:latin typeface="Arial"/>
                <a:cs typeface="Arial"/>
              </a:rPr>
              <a:t>Memory </a:t>
            </a:r>
            <a:r>
              <a:rPr sz="2000" dirty="0">
                <a:solidFill>
                  <a:srgbClr val="4D4E5C"/>
                </a:solidFill>
                <a:latin typeface="Arial"/>
                <a:cs typeface="Arial"/>
              </a:rPr>
              <a:t>/</a:t>
            </a:r>
            <a:r>
              <a:rPr sz="2000" spc="33" dirty="0">
                <a:solidFill>
                  <a:srgbClr val="4D4E5C"/>
                </a:solidFill>
                <a:latin typeface="Arial"/>
                <a:cs typeface="Arial"/>
              </a:rPr>
              <a:t> </a:t>
            </a:r>
            <a:r>
              <a:rPr sz="2000" spc="-7" dirty="0">
                <a:solidFill>
                  <a:srgbClr val="4D4E5C"/>
                </a:solidFill>
                <a:latin typeface="Arial"/>
                <a:cs typeface="Arial"/>
              </a:rPr>
              <a:t>Disk</a:t>
            </a:r>
            <a:r>
              <a:rPr sz="2000" spc="20" dirty="0">
                <a:solidFill>
                  <a:srgbClr val="4D4E5C"/>
                </a:solidFill>
                <a:latin typeface="Arial"/>
                <a:cs typeface="Arial"/>
              </a:rPr>
              <a:t> </a:t>
            </a:r>
            <a:r>
              <a:rPr sz="2000" spc="-7" dirty="0">
                <a:solidFill>
                  <a:srgbClr val="4D4E5C"/>
                </a:solidFill>
                <a:latin typeface="Arial"/>
                <a:cs typeface="Arial"/>
              </a:rPr>
              <a:t>Space	</a:t>
            </a:r>
            <a:r>
              <a:rPr sz="2000" dirty="0">
                <a:solidFill>
                  <a:srgbClr val="4D4E5C"/>
                </a:solidFill>
                <a:latin typeface="Arial"/>
                <a:cs typeface="Arial"/>
              </a:rPr>
              <a:t>: </a:t>
            </a:r>
            <a:r>
              <a:rPr sz="2000" spc="-7" dirty="0">
                <a:solidFill>
                  <a:srgbClr val="4D4E5C"/>
                </a:solidFill>
                <a:latin typeface="Arial"/>
                <a:cs typeface="Arial"/>
              </a:rPr>
              <a:t>no </a:t>
            </a:r>
            <a:r>
              <a:rPr sz="2000" dirty="0">
                <a:solidFill>
                  <a:srgbClr val="4D4E5C"/>
                </a:solidFill>
                <a:latin typeface="Arial"/>
                <a:cs typeface="Arial"/>
              </a:rPr>
              <a:t>minimum</a:t>
            </a:r>
            <a:r>
              <a:rPr sz="2000" spc="-47" dirty="0">
                <a:solidFill>
                  <a:srgbClr val="4D4E5C"/>
                </a:solidFill>
                <a:latin typeface="Arial"/>
                <a:cs typeface="Arial"/>
              </a:rPr>
              <a:t> </a:t>
            </a:r>
            <a:r>
              <a:rPr sz="2000" dirty="0">
                <a:solidFill>
                  <a:srgbClr val="4D4E5C"/>
                </a:solidFill>
                <a:latin typeface="Arial"/>
                <a:cs typeface="Arial"/>
              </a:rPr>
              <a:t>requirement.</a:t>
            </a:r>
            <a:endParaRPr sz="2000">
              <a:latin typeface="Arial"/>
              <a:cs typeface="Arial"/>
            </a:endParaRPr>
          </a:p>
          <a:p>
            <a:pPr marL="325112" indent="-308179">
              <a:spcBef>
                <a:spcPts val="247"/>
              </a:spcBef>
              <a:buClr>
                <a:srgbClr val="00AFEF"/>
              </a:buClr>
              <a:buFont typeface="Wingdings"/>
              <a:buChar char=""/>
              <a:tabLst>
                <a:tab pos="325112" algn="l"/>
                <a:tab pos="325959" algn="l"/>
              </a:tabLst>
            </a:pPr>
            <a:r>
              <a:rPr sz="2267" dirty="0">
                <a:solidFill>
                  <a:srgbClr val="4D4E5C"/>
                </a:solidFill>
                <a:latin typeface="Arial"/>
                <a:cs typeface="Arial"/>
              </a:rPr>
              <a:t>Set </a:t>
            </a:r>
            <a:r>
              <a:rPr sz="2267" spc="-80" dirty="0">
                <a:solidFill>
                  <a:srgbClr val="4D4E5C"/>
                </a:solidFill>
                <a:latin typeface="Arial"/>
                <a:cs typeface="Arial"/>
              </a:rPr>
              <a:t>JAVA</a:t>
            </a:r>
            <a:r>
              <a:rPr sz="2267" spc="-160" dirty="0">
                <a:solidFill>
                  <a:srgbClr val="4D4E5C"/>
                </a:solidFill>
                <a:latin typeface="Arial"/>
                <a:cs typeface="Arial"/>
              </a:rPr>
              <a:t> </a:t>
            </a:r>
            <a:r>
              <a:rPr sz="2267" dirty="0">
                <a:solidFill>
                  <a:srgbClr val="4D4E5C"/>
                </a:solidFill>
                <a:latin typeface="Arial"/>
                <a:cs typeface="Arial"/>
              </a:rPr>
              <a:t>Environment</a:t>
            </a:r>
            <a:endParaRPr sz="2267">
              <a:latin typeface="Arial"/>
              <a:cs typeface="Arial"/>
            </a:endParaRPr>
          </a:p>
          <a:p>
            <a:pPr marL="1008355" lvl="1" indent="-381837">
              <a:spcBef>
                <a:spcPts val="333"/>
              </a:spcBef>
              <a:buClr>
                <a:srgbClr val="00AFEF"/>
              </a:buClr>
              <a:buFont typeface="Wingdings"/>
              <a:buChar char=""/>
              <a:tabLst>
                <a:tab pos="1008355" algn="l"/>
                <a:tab pos="1009201" algn="l"/>
              </a:tabLst>
            </a:pPr>
            <a:r>
              <a:rPr sz="2000" spc="-7" dirty="0">
                <a:solidFill>
                  <a:srgbClr val="4D4E5C"/>
                </a:solidFill>
                <a:latin typeface="Arial"/>
                <a:cs typeface="Arial"/>
              </a:rPr>
              <a:t>Set environment</a:t>
            </a:r>
            <a:r>
              <a:rPr sz="2000" spc="-27" dirty="0">
                <a:solidFill>
                  <a:srgbClr val="4D4E5C"/>
                </a:solidFill>
                <a:latin typeface="Arial"/>
                <a:cs typeface="Arial"/>
              </a:rPr>
              <a:t> </a:t>
            </a:r>
            <a:r>
              <a:rPr sz="2000" spc="-7" dirty="0">
                <a:solidFill>
                  <a:srgbClr val="4D4E5C"/>
                </a:solidFill>
                <a:latin typeface="Arial"/>
                <a:cs typeface="Arial"/>
              </a:rPr>
              <a:t>variable</a:t>
            </a:r>
            <a:endParaRPr sz="2000">
              <a:latin typeface="Arial"/>
              <a:cs typeface="Arial"/>
            </a:endParaRPr>
          </a:p>
          <a:p>
            <a:pPr marL="1540048" lvl="2" indent="-303946">
              <a:spcBef>
                <a:spcPts val="339"/>
              </a:spcBef>
              <a:buClr>
                <a:srgbClr val="00AFEF"/>
              </a:buClr>
              <a:buFont typeface="Wingdings"/>
              <a:buChar char=""/>
              <a:tabLst>
                <a:tab pos="1540048" algn="l"/>
                <a:tab pos="1540895" algn="l"/>
              </a:tabLst>
            </a:pPr>
            <a:r>
              <a:rPr sz="1867" b="1" spc="-40" dirty="0">
                <a:solidFill>
                  <a:srgbClr val="4D4E5C"/>
                </a:solidFill>
                <a:latin typeface="Arial"/>
                <a:cs typeface="Arial"/>
              </a:rPr>
              <a:t>JAVA_HOME </a:t>
            </a:r>
            <a:r>
              <a:rPr sz="1867" dirty="0">
                <a:solidFill>
                  <a:srgbClr val="4D4E5C"/>
                </a:solidFill>
                <a:latin typeface="Arial"/>
                <a:cs typeface="Arial"/>
              </a:rPr>
              <a:t>– </a:t>
            </a:r>
            <a:r>
              <a:rPr sz="1867" spc="-7" dirty="0">
                <a:solidFill>
                  <a:srgbClr val="4D4E5C"/>
                </a:solidFill>
                <a:latin typeface="Arial"/>
                <a:cs typeface="Arial"/>
              </a:rPr>
              <a:t>This variable </a:t>
            </a:r>
            <a:r>
              <a:rPr sz="1867" dirty="0">
                <a:solidFill>
                  <a:srgbClr val="4D4E5C"/>
                </a:solidFill>
                <a:latin typeface="Arial"/>
                <a:cs typeface="Arial"/>
              </a:rPr>
              <a:t>points to the base directory</a:t>
            </a:r>
            <a:r>
              <a:rPr sz="1867" spc="-152" dirty="0">
                <a:solidFill>
                  <a:srgbClr val="4D4E5C"/>
                </a:solidFill>
                <a:latin typeface="Arial"/>
                <a:cs typeface="Arial"/>
              </a:rPr>
              <a:t> </a:t>
            </a:r>
            <a:r>
              <a:rPr sz="1867" dirty="0">
                <a:solidFill>
                  <a:srgbClr val="4D4E5C"/>
                </a:solidFill>
                <a:latin typeface="Arial"/>
                <a:cs typeface="Arial"/>
              </a:rPr>
              <a:t>location</a:t>
            </a:r>
            <a:endParaRPr sz="1867">
              <a:latin typeface="Arial"/>
              <a:cs typeface="Arial"/>
            </a:endParaRPr>
          </a:p>
          <a:p>
            <a:pPr marL="1562908">
              <a:spcBef>
                <a:spcPts val="353"/>
              </a:spcBef>
            </a:pPr>
            <a:r>
              <a:rPr sz="1867" dirty="0">
                <a:solidFill>
                  <a:srgbClr val="4D4E5C"/>
                </a:solidFill>
                <a:latin typeface="Arial"/>
                <a:cs typeface="Arial"/>
              </a:rPr>
              <a:t>E.g. </a:t>
            </a:r>
            <a:r>
              <a:rPr sz="1867" spc="-33" dirty="0">
                <a:solidFill>
                  <a:srgbClr val="4D4E5C"/>
                </a:solidFill>
                <a:latin typeface="Arial"/>
                <a:cs typeface="Arial"/>
              </a:rPr>
              <a:t>JAVA_HOME </a:t>
            </a:r>
            <a:r>
              <a:rPr sz="1867" dirty="0">
                <a:solidFill>
                  <a:srgbClr val="4D4E5C"/>
                </a:solidFill>
                <a:latin typeface="Arial"/>
                <a:cs typeface="Arial"/>
              </a:rPr>
              <a:t>= C:\Program</a:t>
            </a:r>
            <a:r>
              <a:rPr sz="1867" spc="-80" dirty="0">
                <a:solidFill>
                  <a:srgbClr val="4D4E5C"/>
                </a:solidFill>
                <a:latin typeface="Arial"/>
                <a:cs typeface="Arial"/>
              </a:rPr>
              <a:t> </a:t>
            </a:r>
            <a:r>
              <a:rPr sz="1867" spc="-7" dirty="0">
                <a:solidFill>
                  <a:srgbClr val="4D4E5C"/>
                </a:solidFill>
                <a:latin typeface="Arial"/>
                <a:cs typeface="Arial"/>
              </a:rPr>
              <a:t>Files\Java\jdk1.x.x</a:t>
            </a:r>
            <a:endParaRPr sz="1867">
              <a:latin typeface="Arial"/>
              <a:cs typeface="Arial"/>
            </a:endParaRPr>
          </a:p>
          <a:p>
            <a:pPr marL="1540048" indent="-303946">
              <a:spcBef>
                <a:spcPts val="353"/>
              </a:spcBef>
              <a:buClr>
                <a:srgbClr val="00AFEF"/>
              </a:buClr>
              <a:buFont typeface="Wingdings"/>
              <a:buChar char=""/>
              <a:tabLst>
                <a:tab pos="1540048" algn="l"/>
                <a:tab pos="1540895" algn="l"/>
              </a:tabLst>
            </a:pPr>
            <a:r>
              <a:rPr sz="1867" dirty="0">
                <a:solidFill>
                  <a:srgbClr val="4D4E5C"/>
                </a:solidFill>
                <a:latin typeface="Arial"/>
                <a:cs typeface="Arial"/>
              </a:rPr>
              <a:t>Append </a:t>
            </a:r>
            <a:r>
              <a:rPr sz="1867" spc="-7" dirty="0">
                <a:solidFill>
                  <a:srgbClr val="4D4E5C"/>
                </a:solidFill>
                <a:latin typeface="Arial"/>
                <a:cs typeface="Arial"/>
              </a:rPr>
              <a:t>location </a:t>
            </a:r>
            <a:r>
              <a:rPr sz="1867" dirty="0">
                <a:solidFill>
                  <a:srgbClr val="4D4E5C"/>
                </a:solidFill>
                <a:latin typeface="Arial"/>
                <a:cs typeface="Arial"/>
              </a:rPr>
              <a:t>of </a:t>
            </a:r>
            <a:r>
              <a:rPr sz="1867" spc="-7" dirty="0">
                <a:solidFill>
                  <a:srgbClr val="4D4E5C"/>
                </a:solidFill>
                <a:latin typeface="Arial"/>
                <a:cs typeface="Arial"/>
              </a:rPr>
              <a:t>Java compiler System variable</a:t>
            </a:r>
            <a:r>
              <a:rPr sz="1867" spc="-193" dirty="0">
                <a:solidFill>
                  <a:srgbClr val="4D4E5C"/>
                </a:solidFill>
                <a:latin typeface="Arial"/>
                <a:cs typeface="Arial"/>
              </a:rPr>
              <a:t> </a:t>
            </a:r>
            <a:r>
              <a:rPr sz="1867" spc="-7" dirty="0">
                <a:solidFill>
                  <a:srgbClr val="4D4E5C"/>
                </a:solidFill>
                <a:latin typeface="Arial"/>
                <a:cs typeface="Arial"/>
              </a:rPr>
              <a:t>‘Path’</a:t>
            </a:r>
            <a:endParaRPr sz="1867">
              <a:latin typeface="Arial"/>
              <a:cs typeface="Arial"/>
            </a:endParaRPr>
          </a:p>
          <a:p>
            <a:pPr marL="1589154">
              <a:spcBef>
                <a:spcPts val="353"/>
              </a:spcBef>
            </a:pPr>
            <a:r>
              <a:rPr sz="1867" dirty="0">
                <a:solidFill>
                  <a:srgbClr val="4D4E5C"/>
                </a:solidFill>
                <a:latin typeface="Arial"/>
                <a:cs typeface="Arial"/>
              </a:rPr>
              <a:t>E.g. Path = %path%;C:\Program </a:t>
            </a:r>
            <a:r>
              <a:rPr sz="1867" spc="-7" dirty="0">
                <a:solidFill>
                  <a:srgbClr val="4D4E5C"/>
                </a:solidFill>
                <a:latin typeface="Arial"/>
                <a:cs typeface="Arial"/>
              </a:rPr>
              <a:t>Files</a:t>
            </a:r>
            <a:r>
              <a:rPr sz="1867" spc="-160" dirty="0">
                <a:solidFill>
                  <a:srgbClr val="4D4E5C"/>
                </a:solidFill>
                <a:latin typeface="Arial"/>
                <a:cs typeface="Arial"/>
              </a:rPr>
              <a:t> </a:t>
            </a:r>
            <a:r>
              <a:rPr sz="1867" spc="-7" dirty="0">
                <a:solidFill>
                  <a:srgbClr val="4D4E5C"/>
                </a:solidFill>
                <a:latin typeface="Arial"/>
                <a:cs typeface="Arial"/>
              </a:rPr>
              <a:t>(x86)\Java\jdk1.8\bin</a:t>
            </a:r>
            <a:endParaRPr sz="1867">
              <a:latin typeface="Arial"/>
              <a:cs typeface="Arial"/>
            </a:endParaRPr>
          </a:p>
          <a:p>
            <a:pPr marL="325112" indent="-308179">
              <a:spcBef>
                <a:spcPts val="260"/>
              </a:spcBef>
              <a:buClr>
                <a:srgbClr val="00AFEF"/>
              </a:buClr>
              <a:buFont typeface="Wingdings"/>
              <a:buChar char=""/>
              <a:tabLst>
                <a:tab pos="325112" algn="l"/>
                <a:tab pos="325959" algn="l"/>
              </a:tabLst>
            </a:pPr>
            <a:r>
              <a:rPr sz="2267" spc="-20" dirty="0">
                <a:solidFill>
                  <a:srgbClr val="4D4E5C"/>
                </a:solidFill>
                <a:latin typeface="Arial"/>
                <a:cs typeface="Arial"/>
              </a:rPr>
              <a:t>Verify </a:t>
            </a:r>
            <a:r>
              <a:rPr sz="2267" dirty="0">
                <a:solidFill>
                  <a:srgbClr val="4D4E5C"/>
                </a:solidFill>
                <a:latin typeface="Arial"/>
                <a:cs typeface="Arial"/>
              </a:rPr>
              <a:t>Java &amp; </a:t>
            </a:r>
            <a:r>
              <a:rPr sz="2267" spc="-13" dirty="0">
                <a:solidFill>
                  <a:srgbClr val="4D4E5C"/>
                </a:solidFill>
                <a:latin typeface="Arial"/>
                <a:cs typeface="Arial"/>
              </a:rPr>
              <a:t>your </a:t>
            </a:r>
            <a:r>
              <a:rPr sz="2267" spc="-7" dirty="0">
                <a:solidFill>
                  <a:srgbClr val="4D4E5C"/>
                </a:solidFill>
                <a:latin typeface="Arial"/>
                <a:cs typeface="Arial"/>
              </a:rPr>
              <a:t>settings </a:t>
            </a:r>
            <a:r>
              <a:rPr sz="2267" dirty="0">
                <a:solidFill>
                  <a:srgbClr val="4D4E5C"/>
                </a:solidFill>
                <a:latin typeface="Arial"/>
                <a:cs typeface="Arial"/>
              </a:rPr>
              <a:t>on </a:t>
            </a:r>
            <a:r>
              <a:rPr sz="2267" spc="-7" dirty="0">
                <a:solidFill>
                  <a:srgbClr val="4D4E5C"/>
                </a:solidFill>
                <a:latin typeface="Arial"/>
                <a:cs typeface="Arial"/>
              </a:rPr>
              <a:t>your</a:t>
            </a:r>
            <a:r>
              <a:rPr sz="2267" spc="107" dirty="0">
                <a:solidFill>
                  <a:srgbClr val="4D4E5C"/>
                </a:solidFill>
                <a:latin typeface="Arial"/>
                <a:cs typeface="Arial"/>
              </a:rPr>
              <a:t> </a:t>
            </a:r>
            <a:r>
              <a:rPr sz="2267" dirty="0">
                <a:solidFill>
                  <a:srgbClr val="4D4E5C"/>
                </a:solidFill>
                <a:latin typeface="Arial"/>
                <a:cs typeface="Arial"/>
              </a:rPr>
              <a:t>machine</a:t>
            </a:r>
            <a:endParaRPr sz="2267">
              <a:latin typeface="Arial"/>
              <a:cs typeface="Arial"/>
            </a:endParaRPr>
          </a:p>
          <a:p>
            <a:pPr marL="1008355" lvl="1" indent="-381837">
              <a:spcBef>
                <a:spcPts val="327"/>
              </a:spcBef>
              <a:buClr>
                <a:srgbClr val="00AFEF"/>
              </a:buClr>
              <a:buFont typeface="Wingdings"/>
              <a:buChar char=""/>
              <a:tabLst>
                <a:tab pos="1008355" algn="l"/>
                <a:tab pos="1009201" algn="l"/>
              </a:tabLst>
            </a:pPr>
            <a:r>
              <a:rPr sz="2000" spc="-7" dirty="0">
                <a:solidFill>
                  <a:srgbClr val="4D4E5C"/>
                </a:solidFill>
                <a:latin typeface="Arial"/>
                <a:cs typeface="Arial"/>
              </a:rPr>
              <a:t>C:\Users\avitepa&gt;java</a:t>
            </a:r>
            <a:r>
              <a:rPr sz="2000" spc="7" dirty="0">
                <a:solidFill>
                  <a:srgbClr val="4D4E5C"/>
                </a:solidFill>
                <a:latin typeface="Arial"/>
                <a:cs typeface="Arial"/>
              </a:rPr>
              <a:t> </a:t>
            </a:r>
            <a:r>
              <a:rPr sz="2000" spc="-7" dirty="0">
                <a:solidFill>
                  <a:srgbClr val="4D4E5C"/>
                </a:solidFill>
                <a:latin typeface="Arial"/>
                <a:cs typeface="Arial"/>
              </a:rPr>
              <a:t>-version</a:t>
            </a:r>
            <a:endParaRPr sz="2000">
              <a:latin typeface="Arial"/>
              <a:cs typeface="Arial"/>
            </a:endParaRPr>
          </a:p>
          <a:p>
            <a:pPr marL="1297060">
              <a:spcBef>
                <a:spcPts val="780"/>
              </a:spcBef>
            </a:pPr>
            <a:r>
              <a:rPr sz="1733" spc="-13" dirty="0">
                <a:solidFill>
                  <a:srgbClr val="4D4E5C"/>
                </a:solidFill>
                <a:latin typeface="Arial"/>
                <a:cs typeface="Arial"/>
              </a:rPr>
              <a:t>java </a:t>
            </a:r>
            <a:r>
              <a:rPr sz="1733" spc="-7" dirty="0">
                <a:solidFill>
                  <a:srgbClr val="4D4E5C"/>
                </a:solidFill>
                <a:latin typeface="Arial"/>
                <a:cs typeface="Arial"/>
              </a:rPr>
              <a:t>version</a:t>
            </a:r>
            <a:r>
              <a:rPr sz="1733" spc="80" dirty="0">
                <a:solidFill>
                  <a:srgbClr val="4D4E5C"/>
                </a:solidFill>
                <a:latin typeface="Arial"/>
                <a:cs typeface="Arial"/>
              </a:rPr>
              <a:t> </a:t>
            </a:r>
            <a:r>
              <a:rPr sz="1733" spc="-7" dirty="0">
                <a:solidFill>
                  <a:srgbClr val="4D4E5C"/>
                </a:solidFill>
                <a:latin typeface="Arial"/>
                <a:cs typeface="Arial"/>
              </a:rPr>
              <a:t>"1.8.0_121"</a:t>
            </a:r>
            <a:endParaRPr sz="1733">
              <a:latin typeface="Arial"/>
              <a:cs typeface="Arial"/>
            </a:endParaRPr>
          </a:p>
          <a:p>
            <a:pPr marL="1236102" marR="1153978">
              <a:lnSpc>
                <a:spcPct val="118500"/>
              </a:lnSpc>
              <a:spcBef>
                <a:spcPts val="113"/>
              </a:spcBef>
            </a:pPr>
            <a:r>
              <a:rPr sz="1733" spc="-7" dirty="0">
                <a:solidFill>
                  <a:srgbClr val="4D4E5C"/>
                </a:solidFill>
                <a:latin typeface="Arial"/>
                <a:cs typeface="Arial"/>
              </a:rPr>
              <a:t>Java(TM) SE Runtime Environment (build 1.8.0_121-b13)  </a:t>
            </a:r>
            <a:r>
              <a:rPr sz="1733" spc="-13" dirty="0">
                <a:solidFill>
                  <a:srgbClr val="4D4E5C"/>
                </a:solidFill>
                <a:latin typeface="Arial"/>
                <a:cs typeface="Arial"/>
              </a:rPr>
              <a:t>Java </a:t>
            </a:r>
            <a:r>
              <a:rPr sz="1733" spc="-7" dirty="0">
                <a:solidFill>
                  <a:srgbClr val="4D4E5C"/>
                </a:solidFill>
                <a:latin typeface="Arial"/>
                <a:cs typeface="Arial"/>
              </a:rPr>
              <a:t>HotSpot(TM) Client VM (build 25.121-b13, </a:t>
            </a:r>
            <a:r>
              <a:rPr sz="1733" spc="-13" dirty="0">
                <a:solidFill>
                  <a:srgbClr val="4D4E5C"/>
                </a:solidFill>
                <a:latin typeface="Arial"/>
                <a:cs typeface="Arial"/>
              </a:rPr>
              <a:t>mixed</a:t>
            </a:r>
            <a:r>
              <a:rPr sz="1733" spc="353" dirty="0">
                <a:solidFill>
                  <a:srgbClr val="4D4E5C"/>
                </a:solidFill>
                <a:latin typeface="Arial"/>
                <a:cs typeface="Arial"/>
              </a:rPr>
              <a:t> </a:t>
            </a:r>
            <a:r>
              <a:rPr sz="1733" spc="-7" dirty="0">
                <a:solidFill>
                  <a:srgbClr val="4D4E5C"/>
                </a:solidFill>
                <a:latin typeface="Arial"/>
                <a:cs typeface="Arial"/>
              </a:rPr>
              <a:t>mode)</a:t>
            </a:r>
            <a:endParaRPr sz="1733">
              <a:latin typeface="Arial"/>
              <a:cs typeface="Arial"/>
            </a:endParaRPr>
          </a:p>
          <a:p>
            <a:pPr marL="1008355" lvl="1" indent="-381837">
              <a:spcBef>
                <a:spcPts val="387"/>
              </a:spcBef>
              <a:buClr>
                <a:srgbClr val="00AFEF"/>
              </a:buClr>
              <a:buFont typeface="Wingdings"/>
              <a:buChar char=""/>
              <a:tabLst>
                <a:tab pos="1008355" algn="l"/>
                <a:tab pos="1009201" algn="l"/>
              </a:tabLst>
            </a:pPr>
            <a:r>
              <a:rPr sz="1733" spc="-7" dirty="0">
                <a:solidFill>
                  <a:srgbClr val="4D4E5C"/>
                </a:solidFill>
                <a:latin typeface="Arial"/>
                <a:cs typeface="Arial"/>
              </a:rPr>
              <a:t>C:\Users\avitepa&gt;path</a:t>
            </a:r>
            <a:endParaRPr sz="1733">
              <a:latin typeface="Arial"/>
              <a:cs typeface="Arial"/>
            </a:endParaRPr>
          </a:p>
          <a:p>
            <a:pPr marL="1008355" lvl="1" indent="-381837">
              <a:spcBef>
                <a:spcPts val="380"/>
              </a:spcBef>
              <a:buClr>
                <a:srgbClr val="00AFEF"/>
              </a:buClr>
              <a:buFont typeface="Wingdings"/>
              <a:buChar char=""/>
              <a:tabLst>
                <a:tab pos="1008355" algn="l"/>
                <a:tab pos="1009201" algn="l"/>
              </a:tabLst>
            </a:pPr>
            <a:r>
              <a:rPr sz="1733" spc="-7" dirty="0">
                <a:solidFill>
                  <a:srgbClr val="4D4E5C"/>
                </a:solidFill>
                <a:latin typeface="Arial"/>
                <a:cs typeface="Arial"/>
              </a:rPr>
              <a:t>C:\Users\avitepa&gt;echo</a:t>
            </a:r>
            <a:r>
              <a:rPr sz="1733" spc="73" dirty="0">
                <a:solidFill>
                  <a:srgbClr val="4D4E5C"/>
                </a:solidFill>
                <a:latin typeface="Arial"/>
                <a:cs typeface="Arial"/>
              </a:rPr>
              <a:t> </a:t>
            </a:r>
            <a:r>
              <a:rPr sz="1733" spc="-7" dirty="0">
                <a:solidFill>
                  <a:srgbClr val="4D4E5C"/>
                </a:solidFill>
                <a:latin typeface="Arial"/>
                <a:cs typeface="Arial"/>
              </a:rPr>
              <a:t>%classpath%</a:t>
            </a:r>
            <a:endParaRPr sz="1733">
              <a:latin typeface="Arial"/>
              <a:cs typeface="Arial"/>
            </a:endParaRPr>
          </a:p>
        </p:txBody>
      </p:sp>
    </p:spTree>
    <p:extLst>
      <p:ext uri="{BB962C8B-B14F-4D97-AF65-F5344CB8AC3E}">
        <p14:creationId xmlns:p14="http://schemas.microsoft.com/office/powerpoint/2010/main" val="281989376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357745" y="93134"/>
            <a:ext cx="3455282" cy="479618"/>
          </a:xfrm>
          <a:prstGeom prst="rect">
            <a:avLst/>
          </a:prstGeom>
        </p:spPr>
        <p:txBody>
          <a:bodyPr vert="horz" wrap="square" lIns="0" tIns="17780" rIns="0" bIns="0" numCol="1" rtlCol="0" anchor="t" anchorCtr="0" compatLnSpc="1">
            <a:prstTxWarp prst="textNoShape">
              <a:avLst/>
            </a:prstTxWarp>
            <a:spAutoFit/>
          </a:bodyPr>
          <a:lstStyle/>
          <a:p>
            <a:pPr marL="16933">
              <a:spcBef>
                <a:spcPts val="140"/>
              </a:spcBef>
            </a:pPr>
            <a:r>
              <a:rPr dirty="0"/>
              <a:t>Step 2: Maven</a:t>
            </a:r>
            <a:r>
              <a:rPr spc="-100" dirty="0"/>
              <a:t> </a:t>
            </a:r>
            <a:r>
              <a:rPr dirty="0"/>
              <a:t>Setup</a:t>
            </a:r>
          </a:p>
        </p:txBody>
      </p:sp>
      <p:sp>
        <p:nvSpPr>
          <p:cNvPr id="3" name="object 3"/>
          <p:cNvSpPr txBox="1"/>
          <p:nvPr/>
        </p:nvSpPr>
        <p:spPr>
          <a:xfrm>
            <a:off x="0" y="863123"/>
            <a:ext cx="12081165" cy="5765489"/>
          </a:xfrm>
          <a:prstGeom prst="rect">
            <a:avLst/>
          </a:prstGeom>
        </p:spPr>
        <p:txBody>
          <a:bodyPr vert="horz" wrap="square" lIns="0" tIns="50800" rIns="0" bIns="0" rtlCol="0">
            <a:spAutoFit/>
          </a:bodyPr>
          <a:lstStyle/>
          <a:p>
            <a:pPr marL="325112" indent="-308179">
              <a:spcBef>
                <a:spcPts val="400"/>
              </a:spcBef>
              <a:buClr>
                <a:srgbClr val="00AFEF"/>
              </a:buClr>
              <a:buFont typeface="Wingdings"/>
              <a:buChar char=""/>
              <a:tabLst>
                <a:tab pos="325112" algn="l"/>
                <a:tab pos="325959" algn="l"/>
              </a:tabLst>
            </a:pPr>
            <a:r>
              <a:rPr sz="2400" spc="-13" dirty="0">
                <a:solidFill>
                  <a:srgbClr val="4D4E5C"/>
                </a:solidFill>
                <a:latin typeface="Arial"/>
                <a:cs typeface="Arial"/>
              </a:rPr>
              <a:t>Download </a:t>
            </a:r>
            <a:r>
              <a:rPr sz="2400" spc="-7" dirty="0">
                <a:solidFill>
                  <a:srgbClr val="4D4E5C"/>
                </a:solidFill>
                <a:latin typeface="Arial"/>
                <a:cs typeface="Arial"/>
              </a:rPr>
              <a:t>Maven </a:t>
            </a:r>
            <a:r>
              <a:rPr sz="2400" dirty="0">
                <a:solidFill>
                  <a:srgbClr val="4D4E5C"/>
                </a:solidFill>
                <a:latin typeface="Arial"/>
                <a:cs typeface="Arial"/>
              </a:rPr>
              <a:t>-</a:t>
            </a:r>
            <a:r>
              <a:rPr sz="2400" spc="100" dirty="0">
                <a:solidFill>
                  <a:srgbClr val="1E1E23"/>
                </a:solidFill>
                <a:latin typeface="Arial"/>
                <a:cs typeface="Arial"/>
              </a:rPr>
              <a:t> </a:t>
            </a:r>
            <a:r>
              <a:rPr sz="2400" u="heavy" spc="-7" dirty="0">
                <a:solidFill>
                  <a:srgbClr val="1E1E23"/>
                </a:solidFill>
                <a:uFill>
                  <a:solidFill>
                    <a:srgbClr val="1E1E23"/>
                  </a:solidFill>
                </a:uFill>
                <a:latin typeface="Arial"/>
                <a:cs typeface="Arial"/>
                <a:hlinkClick r:id="rId2"/>
              </a:rPr>
              <a:t>http://maven.apache.org/download.cgi</a:t>
            </a:r>
            <a:endParaRPr sz="2400" dirty="0">
              <a:latin typeface="Arial"/>
              <a:cs typeface="Arial"/>
            </a:endParaRPr>
          </a:p>
          <a:p>
            <a:pPr marL="1008355" lvl="1" indent="-381837">
              <a:spcBef>
                <a:spcPts val="260"/>
              </a:spcBef>
              <a:buClr>
                <a:srgbClr val="00AFEF"/>
              </a:buClr>
              <a:buFont typeface="Wingdings"/>
              <a:buChar char=""/>
              <a:tabLst>
                <a:tab pos="1008355" algn="l"/>
                <a:tab pos="1009201" algn="l"/>
              </a:tabLst>
            </a:pPr>
            <a:r>
              <a:rPr sz="2267" spc="-7" dirty="0">
                <a:solidFill>
                  <a:srgbClr val="4D4E5C"/>
                </a:solidFill>
                <a:latin typeface="Arial"/>
                <a:cs typeface="Arial"/>
              </a:rPr>
              <a:t>Windows:</a:t>
            </a:r>
            <a:r>
              <a:rPr sz="2267" dirty="0">
                <a:solidFill>
                  <a:srgbClr val="4D4E5C"/>
                </a:solidFill>
                <a:latin typeface="Arial"/>
                <a:cs typeface="Arial"/>
              </a:rPr>
              <a:t> </a:t>
            </a:r>
            <a:r>
              <a:rPr sz="2267" spc="-7" dirty="0">
                <a:solidFill>
                  <a:srgbClr val="4D4E5C"/>
                </a:solidFill>
                <a:latin typeface="Arial"/>
                <a:cs typeface="Arial"/>
              </a:rPr>
              <a:t>apache-maven-&lt;&lt;Version&gt;&gt;-bin.zip</a:t>
            </a:r>
            <a:endParaRPr sz="2267" dirty="0">
              <a:latin typeface="Arial"/>
              <a:cs typeface="Arial"/>
            </a:endParaRPr>
          </a:p>
          <a:p>
            <a:pPr lvl="1">
              <a:spcBef>
                <a:spcPts val="67"/>
              </a:spcBef>
              <a:buClr>
                <a:srgbClr val="00AFEF"/>
              </a:buClr>
              <a:buFont typeface="Wingdings"/>
              <a:buChar char=""/>
            </a:pPr>
            <a:endParaRPr sz="2133" dirty="0">
              <a:latin typeface="Times New Roman"/>
              <a:cs typeface="Times New Roman"/>
            </a:endParaRPr>
          </a:p>
          <a:p>
            <a:pPr marL="325112" indent="-308179">
              <a:buClr>
                <a:srgbClr val="00AFEF"/>
              </a:buClr>
              <a:buFont typeface="Wingdings"/>
              <a:buChar char=""/>
              <a:tabLst>
                <a:tab pos="325959" algn="l"/>
              </a:tabLst>
            </a:pPr>
            <a:r>
              <a:rPr sz="2533" spc="-7" dirty="0">
                <a:solidFill>
                  <a:srgbClr val="4D4E5C"/>
                </a:solidFill>
                <a:latin typeface="Arial"/>
                <a:cs typeface="Arial"/>
              </a:rPr>
              <a:t>Extract/ Unzip =&gt;</a:t>
            </a:r>
            <a:r>
              <a:rPr sz="2533" spc="53" dirty="0">
                <a:solidFill>
                  <a:srgbClr val="4D4E5C"/>
                </a:solidFill>
                <a:latin typeface="Arial"/>
                <a:cs typeface="Arial"/>
              </a:rPr>
              <a:t> </a:t>
            </a:r>
            <a:r>
              <a:rPr sz="2533" spc="-7" dirty="0">
                <a:solidFill>
                  <a:srgbClr val="4D4E5C"/>
                </a:solidFill>
                <a:latin typeface="Arial"/>
                <a:cs typeface="Arial"/>
              </a:rPr>
              <a:t>apache-maven-&lt;&lt;Version&gt;&gt;--bin.zip</a:t>
            </a:r>
            <a:endParaRPr sz="2533" dirty="0">
              <a:latin typeface="Arial"/>
              <a:cs typeface="Arial"/>
            </a:endParaRPr>
          </a:p>
          <a:p>
            <a:pPr marL="1008355" lvl="1" indent="-381837">
              <a:spcBef>
                <a:spcPts val="267"/>
              </a:spcBef>
              <a:buClr>
                <a:srgbClr val="00AFEF"/>
              </a:buClr>
              <a:buFont typeface="Wingdings"/>
              <a:buChar char=""/>
              <a:tabLst>
                <a:tab pos="1008355" algn="l"/>
                <a:tab pos="1009201" algn="l"/>
              </a:tabLst>
            </a:pPr>
            <a:r>
              <a:rPr sz="2267" spc="-7" dirty="0">
                <a:solidFill>
                  <a:srgbClr val="4D4E5C"/>
                </a:solidFill>
                <a:latin typeface="Arial"/>
                <a:cs typeface="Arial"/>
              </a:rPr>
              <a:t>C:\avitepa\apache-maven-&lt;&lt;Version&gt;&gt;</a:t>
            </a:r>
            <a:endParaRPr sz="2267" dirty="0">
              <a:latin typeface="Arial"/>
              <a:cs typeface="Arial"/>
            </a:endParaRPr>
          </a:p>
          <a:p>
            <a:pPr lvl="1">
              <a:spcBef>
                <a:spcPts val="13"/>
              </a:spcBef>
              <a:buClr>
                <a:srgbClr val="00AFEF"/>
              </a:buClr>
              <a:buFont typeface="Wingdings"/>
              <a:buChar char=""/>
            </a:pPr>
            <a:endParaRPr sz="2733" dirty="0">
              <a:latin typeface="Times New Roman"/>
              <a:cs typeface="Times New Roman"/>
            </a:endParaRPr>
          </a:p>
          <a:p>
            <a:pPr marL="325112" indent="-308179">
              <a:lnSpc>
                <a:spcPts val="2740"/>
              </a:lnSpc>
              <a:spcBef>
                <a:spcPts val="7"/>
              </a:spcBef>
              <a:buClr>
                <a:srgbClr val="00AFEF"/>
              </a:buClr>
              <a:buFont typeface="Wingdings"/>
              <a:buChar char=""/>
              <a:tabLst>
                <a:tab pos="325959" algn="l"/>
              </a:tabLst>
            </a:pPr>
            <a:r>
              <a:rPr sz="2533" spc="-7" dirty="0">
                <a:solidFill>
                  <a:srgbClr val="4D4E5C"/>
                </a:solidFill>
                <a:latin typeface="Arial"/>
                <a:cs typeface="Arial"/>
              </a:rPr>
              <a:t>Include bin directory of the just created directory to</a:t>
            </a:r>
            <a:r>
              <a:rPr sz="2533" spc="207" dirty="0">
                <a:solidFill>
                  <a:srgbClr val="4D4E5C"/>
                </a:solidFill>
                <a:latin typeface="Arial"/>
                <a:cs typeface="Arial"/>
              </a:rPr>
              <a:t> </a:t>
            </a:r>
            <a:r>
              <a:rPr sz="2533" spc="-73" dirty="0">
                <a:solidFill>
                  <a:srgbClr val="4D4E5C"/>
                </a:solidFill>
                <a:latin typeface="Arial"/>
                <a:cs typeface="Arial"/>
              </a:rPr>
              <a:t>‘PATH’</a:t>
            </a:r>
            <a:endParaRPr sz="2533" dirty="0">
              <a:latin typeface="Arial"/>
              <a:cs typeface="Arial"/>
            </a:endParaRPr>
          </a:p>
          <a:p>
            <a:pPr marR="5366038" algn="ctr">
              <a:lnSpc>
                <a:spcPts val="2740"/>
              </a:lnSpc>
            </a:pPr>
            <a:r>
              <a:rPr sz="2533" spc="-7" dirty="0">
                <a:solidFill>
                  <a:srgbClr val="4D4E5C"/>
                </a:solidFill>
                <a:latin typeface="Arial"/>
                <a:cs typeface="Arial"/>
              </a:rPr>
              <a:t>environment</a:t>
            </a:r>
            <a:r>
              <a:rPr sz="2533" spc="53" dirty="0">
                <a:solidFill>
                  <a:srgbClr val="4D4E5C"/>
                </a:solidFill>
                <a:latin typeface="Arial"/>
                <a:cs typeface="Arial"/>
              </a:rPr>
              <a:t> </a:t>
            </a:r>
            <a:r>
              <a:rPr sz="2533" spc="-7" dirty="0">
                <a:solidFill>
                  <a:srgbClr val="4D4E5C"/>
                </a:solidFill>
                <a:latin typeface="Arial"/>
                <a:cs typeface="Arial"/>
              </a:rPr>
              <a:t>variable</a:t>
            </a:r>
            <a:endParaRPr sz="2533" dirty="0">
              <a:latin typeface="Arial"/>
              <a:cs typeface="Arial"/>
            </a:endParaRPr>
          </a:p>
          <a:p>
            <a:pPr>
              <a:spcBef>
                <a:spcPts val="73"/>
              </a:spcBef>
            </a:pPr>
            <a:endParaRPr sz="2133" dirty="0">
              <a:latin typeface="Times New Roman"/>
              <a:cs typeface="Times New Roman"/>
            </a:endParaRPr>
          </a:p>
          <a:p>
            <a:pPr marL="325112" indent="-308179">
              <a:buClr>
                <a:srgbClr val="00AFEF"/>
              </a:buClr>
              <a:buFont typeface="Wingdings"/>
              <a:buChar char=""/>
              <a:tabLst>
                <a:tab pos="325959" algn="l"/>
              </a:tabLst>
            </a:pPr>
            <a:r>
              <a:rPr sz="2533" spc="-33" dirty="0">
                <a:solidFill>
                  <a:srgbClr val="4D4E5C"/>
                </a:solidFill>
                <a:latin typeface="Arial"/>
                <a:cs typeface="Arial"/>
              </a:rPr>
              <a:t>Verify </a:t>
            </a:r>
            <a:r>
              <a:rPr sz="2533" spc="-7" dirty="0">
                <a:solidFill>
                  <a:srgbClr val="4D4E5C"/>
                </a:solidFill>
                <a:latin typeface="Arial"/>
                <a:cs typeface="Arial"/>
              </a:rPr>
              <a:t>Maven installation =&gt; C:\Users\avitepa&gt;mvn</a:t>
            </a:r>
            <a:r>
              <a:rPr sz="2533" spc="267" dirty="0">
                <a:solidFill>
                  <a:srgbClr val="4D4E5C"/>
                </a:solidFill>
                <a:latin typeface="Arial"/>
                <a:cs typeface="Arial"/>
              </a:rPr>
              <a:t> </a:t>
            </a:r>
            <a:r>
              <a:rPr sz="2533" spc="-7" dirty="0">
                <a:solidFill>
                  <a:srgbClr val="4D4E5C"/>
                </a:solidFill>
                <a:latin typeface="Arial"/>
                <a:cs typeface="Arial"/>
              </a:rPr>
              <a:t>-v</a:t>
            </a:r>
            <a:endParaRPr sz="2533" dirty="0">
              <a:latin typeface="Arial"/>
              <a:cs typeface="Arial"/>
            </a:endParaRPr>
          </a:p>
          <a:p>
            <a:pPr marL="528307">
              <a:lnSpc>
                <a:spcPts val="1727"/>
              </a:lnSpc>
              <a:spcBef>
                <a:spcPts val="387"/>
              </a:spcBef>
            </a:pPr>
            <a:r>
              <a:rPr sz="1600" spc="-7" dirty="0">
                <a:solidFill>
                  <a:srgbClr val="4D4E5C"/>
                </a:solidFill>
                <a:latin typeface="Courier New"/>
                <a:cs typeface="Courier New"/>
              </a:rPr>
              <a:t>Apache </a:t>
            </a:r>
            <a:r>
              <a:rPr sz="1600" dirty="0">
                <a:solidFill>
                  <a:srgbClr val="4D4E5C"/>
                </a:solidFill>
                <a:latin typeface="Courier New"/>
                <a:cs typeface="Courier New"/>
              </a:rPr>
              <a:t>Maven 3.3.9</a:t>
            </a:r>
            <a:r>
              <a:rPr sz="1600" spc="47" dirty="0">
                <a:solidFill>
                  <a:srgbClr val="4D4E5C"/>
                </a:solidFill>
                <a:latin typeface="Courier New"/>
                <a:cs typeface="Courier New"/>
              </a:rPr>
              <a:t> </a:t>
            </a:r>
            <a:r>
              <a:rPr sz="1600" dirty="0">
                <a:solidFill>
                  <a:srgbClr val="4D4E5C"/>
                </a:solidFill>
                <a:latin typeface="Courier New"/>
                <a:cs typeface="Courier New"/>
              </a:rPr>
              <a:t>(bb52d8502b132ec0a5a3f4c09453c07478323dc5;2015-11-</a:t>
            </a:r>
            <a:endParaRPr sz="1600" dirty="0">
              <a:latin typeface="Courier New"/>
              <a:cs typeface="Courier New"/>
            </a:endParaRPr>
          </a:p>
          <a:p>
            <a:pPr marL="528307">
              <a:lnSpc>
                <a:spcPts val="1727"/>
              </a:lnSpc>
            </a:pPr>
            <a:r>
              <a:rPr sz="1600" dirty="0">
                <a:solidFill>
                  <a:srgbClr val="4D4E5C"/>
                </a:solidFill>
                <a:latin typeface="Courier New"/>
                <a:cs typeface="Courier New"/>
              </a:rPr>
              <a:t>10T22:11:47 + 05:30)</a:t>
            </a:r>
            <a:endParaRPr sz="1600" dirty="0">
              <a:latin typeface="Courier New"/>
              <a:cs typeface="Courier New"/>
            </a:endParaRPr>
          </a:p>
          <a:p>
            <a:pPr marL="528307">
              <a:spcBef>
                <a:spcPts val="420"/>
              </a:spcBef>
            </a:pPr>
            <a:r>
              <a:rPr sz="1600" spc="-7" dirty="0">
                <a:solidFill>
                  <a:srgbClr val="4D4E5C"/>
                </a:solidFill>
                <a:latin typeface="Courier New"/>
                <a:cs typeface="Courier New"/>
              </a:rPr>
              <a:t>Maven </a:t>
            </a:r>
            <a:r>
              <a:rPr sz="1600" dirty="0">
                <a:solidFill>
                  <a:srgbClr val="4D4E5C"/>
                </a:solidFill>
                <a:latin typeface="Courier New"/>
                <a:cs typeface="Courier New"/>
              </a:rPr>
              <a:t>home:</a:t>
            </a:r>
            <a:r>
              <a:rPr sz="1600" spc="13" dirty="0">
                <a:solidFill>
                  <a:srgbClr val="4D4E5C"/>
                </a:solidFill>
                <a:latin typeface="Courier New"/>
                <a:cs typeface="Courier New"/>
              </a:rPr>
              <a:t> </a:t>
            </a:r>
            <a:r>
              <a:rPr sz="1600" dirty="0">
                <a:solidFill>
                  <a:srgbClr val="4D4E5C"/>
                </a:solidFill>
                <a:latin typeface="Courier New"/>
                <a:cs typeface="Courier New"/>
              </a:rPr>
              <a:t>C:\apache-maven-3.3.9</a:t>
            </a:r>
            <a:endParaRPr sz="1600" dirty="0">
              <a:latin typeface="Courier New"/>
              <a:cs typeface="Courier New"/>
            </a:endParaRPr>
          </a:p>
          <a:p>
            <a:pPr marL="528307" marR="1796582">
              <a:lnSpc>
                <a:spcPts val="2467"/>
              </a:lnSpc>
              <a:spcBef>
                <a:spcPts val="40"/>
              </a:spcBef>
            </a:pPr>
            <a:r>
              <a:rPr sz="1600" dirty="0">
                <a:solidFill>
                  <a:srgbClr val="4D4E5C"/>
                </a:solidFill>
                <a:latin typeface="Courier New"/>
                <a:cs typeface="Courier New"/>
              </a:rPr>
              <a:t>Java version:1.8.0_121, vendor: </a:t>
            </a:r>
            <a:r>
              <a:rPr sz="1600" spc="-7" dirty="0">
                <a:solidFill>
                  <a:srgbClr val="4D4E5C"/>
                </a:solidFill>
                <a:latin typeface="Courier New"/>
                <a:cs typeface="Courier New"/>
              </a:rPr>
              <a:t>Oracle </a:t>
            </a:r>
            <a:r>
              <a:rPr sz="1600" dirty="0">
                <a:solidFill>
                  <a:srgbClr val="4D4E5C"/>
                </a:solidFill>
                <a:latin typeface="Courier New"/>
                <a:cs typeface="Courier New"/>
              </a:rPr>
              <a:t>Corporation  </a:t>
            </a:r>
            <a:r>
              <a:rPr sz="1600" spc="-7" dirty="0">
                <a:solidFill>
                  <a:srgbClr val="4D4E5C"/>
                </a:solidFill>
                <a:latin typeface="Courier New"/>
                <a:cs typeface="Courier New"/>
              </a:rPr>
              <a:t>Java home:C:\Program Files (x86)\Java\jdk</a:t>
            </a:r>
            <a:r>
              <a:rPr sz="1600" spc="-247" dirty="0">
                <a:solidFill>
                  <a:srgbClr val="4D4E5C"/>
                </a:solidFill>
                <a:latin typeface="Courier New"/>
                <a:cs typeface="Courier New"/>
              </a:rPr>
              <a:t> </a:t>
            </a:r>
            <a:r>
              <a:rPr sz="1600" spc="-7" dirty="0">
                <a:solidFill>
                  <a:srgbClr val="4D4E5C"/>
                </a:solidFill>
                <a:latin typeface="Courier New"/>
                <a:cs typeface="Courier New"/>
              </a:rPr>
              <a:t>1.8.0_121\jre</a:t>
            </a:r>
            <a:endParaRPr sz="1600" dirty="0">
              <a:latin typeface="Courier New"/>
              <a:cs typeface="Courier New"/>
            </a:endParaRPr>
          </a:p>
          <a:p>
            <a:pPr marL="528307">
              <a:spcBef>
                <a:spcPts val="240"/>
              </a:spcBef>
            </a:pPr>
            <a:r>
              <a:rPr sz="1600" dirty="0">
                <a:solidFill>
                  <a:srgbClr val="4D4E5C"/>
                </a:solidFill>
                <a:latin typeface="Courier New"/>
                <a:cs typeface="Courier New"/>
              </a:rPr>
              <a:t>Default locale:en_US, platform encoding:</a:t>
            </a:r>
            <a:r>
              <a:rPr sz="1600" spc="20" dirty="0">
                <a:solidFill>
                  <a:srgbClr val="4D4E5C"/>
                </a:solidFill>
                <a:latin typeface="Courier New"/>
                <a:cs typeface="Courier New"/>
              </a:rPr>
              <a:t> </a:t>
            </a:r>
            <a:r>
              <a:rPr sz="1600" spc="-7" dirty="0">
                <a:solidFill>
                  <a:srgbClr val="4D4E5C"/>
                </a:solidFill>
                <a:latin typeface="Courier New"/>
                <a:cs typeface="Courier New"/>
              </a:rPr>
              <a:t>Cp1252</a:t>
            </a:r>
            <a:endParaRPr sz="1600" dirty="0">
              <a:latin typeface="Courier New"/>
              <a:cs typeface="Courier New"/>
            </a:endParaRPr>
          </a:p>
          <a:p>
            <a:pPr marL="528307">
              <a:spcBef>
                <a:spcPts val="420"/>
              </a:spcBef>
            </a:pPr>
            <a:r>
              <a:rPr sz="1600" spc="-7" dirty="0">
                <a:solidFill>
                  <a:srgbClr val="4D4E5C"/>
                </a:solidFill>
                <a:latin typeface="Courier New"/>
                <a:cs typeface="Courier New"/>
              </a:rPr>
              <a:t>OS </a:t>
            </a:r>
            <a:r>
              <a:rPr sz="1600" dirty="0">
                <a:solidFill>
                  <a:srgbClr val="4D4E5C"/>
                </a:solidFill>
                <a:latin typeface="Courier New"/>
                <a:cs typeface="Courier New"/>
              </a:rPr>
              <a:t>name:"windows 8", version: "6.2", arch: "x86", family:</a:t>
            </a:r>
            <a:r>
              <a:rPr sz="1600" spc="67" dirty="0">
                <a:solidFill>
                  <a:srgbClr val="4D4E5C"/>
                </a:solidFill>
                <a:latin typeface="Courier New"/>
                <a:cs typeface="Courier New"/>
              </a:rPr>
              <a:t> </a:t>
            </a:r>
            <a:r>
              <a:rPr sz="1600" dirty="0">
                <a:solidFill>
                  <a:srgbClr val="4D4E5C"/>
                </a:solidFill>
                <a:latin typeface="Courier New"/>
                <a:cs typeface="Courier New"/>
              </a:rPr>
              <a:t>"windows"</a:t>
            </a:r>
            <a:endParaRPr sz="1600" dirty="0">
              <a:latin typeface="Courier New"/>
              <a:cs typeface="Courier New"/>
            </a:endParaRPr>
          </a:p>
        </p:txBody>
      </p:sp>
    </p:spTree>
    <p:extLst>
      <p:ext uri="{BB962C8B-B14F-4D97-AF65-F5344CB8AC3E}">
        <p14:creationId xmlns:p14="http://schemas.microsoft.com/office/powerpoint/2010/main" val="12197748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p:cNvSpPr txBox="1">
            <a:spLocks noGrp="1"/>
          </p:cNvSpPr>
          <p:nvPr>
            <p:ph type="title"/>
          </p:nvPr>
        </p:nvSpPr>
        <p:spPr>
          <a:xfrm flipH="1">
            <a:off x="1636605" y="365083"/>
            <a:ext cx="2713721" cy="479618"/>
          </a:xfrm>
          <a:prstGeom prst="rect">
            <a:avLst/>
          </a:prstGeom>
        </p:spPr>
        <p:txBody>
          <a:bodyPr vert="horz" wrap="square" lIns="0" tIns="17780" rIns="0" bIns="0" numCol="1" rtlCol="0" anchor="t" anchorCtr="0" compatLnSpc="1">
            <a:prstTxWarp prst="textNoShape">
              <a:avLst/>
            </a:prstTxWarp>
            <a:spAutoFit/>
          </a:bodyPr>
          <a:lstStyle/>
          <a:p>
            <a:pPr marL="16933">
              <a:spcBef>
                <a:spcPts val="140"/>
              </a:spcBef>
            </a:pPr>
            <a:r>
              <a:rPr u="heavy" dirty="0">
                <a:solidFill>
                  <a:srgbClr val="333399"/>
                </a:solidFill>
                <a:uFill>
                  <a:solidFill>
                    <a:srgbClr val="333399"/>
                  </a:solidFill>
                </a:uFill>
              </a:rPr>
              <a:t>A</a:t>
            </a:r>
            <a:r>
              <a:rPr u="heavy" spc="7" dirty="0">
                <a:solidFill>
                  <a:srgbClr val="333399"/>
                </a:solidFill>
                <a:uFill>
                  <a:solidFill>
                    <a:srgbClr val="333399"/>
                  </a:solidFill>
                </a:uFill>
              </a:rPr>
              <a:t>g</a:t>
            </a:r>
            <a:r>
              <a:rPr u="heavy" dirty="0">
                <a:solidFill>
                  <a:srgbClr val="333399"/>
                </a:solidFill>
                <a:uFill>
                  <a:solidFill>
                    <a:srgbClr val="333399"/>
                  </a:solidFill>
                </a:uFill>
              </a:rPr>
              <a:t>e</a:t>
            </a:r>
            <a:r>
              <a:rPr u="heavy" spc="7" dirty="0">
                <a:solidFill>
                  <a:srgbClr val="333399"/>
                </a:solidFill>
                <a:uFill>
                  <a:solidFill>
                    <a:srgbClr val="333399"/>
                  </a:solidFill>
                </a:uFill>
              </a:rPr>
              <a:t>n</a:t>
            </a:r>
            <a:r>
              <a:rPr u="heavy" dirty="0">
                <a:solidFill>
                  <a:srgbClr val="333399"/>
                </a:solidFill>
                <a:uFill>
                  <a:solidFill>
                    <a:srgbClr val="333399"/>
                  </a:solidFill>
                </a:uFill>
              </a:rPr>
              <a:t>da</a:t>
            </a:r>
          </a:p>
        </p:txBody>
      </p:sp>
      <p:sp>
        <p:nvSpPr>
          <p:cNvPr id="6" name="object 6"/>
          <p:cNvSpPr txBox="1"/>
          <p:nvPr/>
        </p:nvSpPr>
        <p:spPr>
          <a:xfrm>
            <a:off x="1083191" y="3198977"/>
            <a:ext cx="3793067" cy="282920"/>
          </a:xfrm>
          <a:prstGeom prst="rect">
            <a:avLst/>
          </a:prstGeom>
        </p:spPr>
        <p:txBody>
          <a:bodyPr vert="horz" wrap="square" lIns="0" tIns="16087" rIns="0" bIns="0" rtlCol="0">
            <a:spAutoFit/>
          </a:bodyPr>
          <a:lstStyle/>
          <a:p>
            <a:pPr marL="16933">
              <a:spcBef>
                <a:spcPts val="127"/>
              </a:spcBef>
            </a:pPr>
            <a:r>
              <a:rPr sz="1733" b="1" spc="-13" dirty="0">
                <a:solidFill>
                  <a:srgbClr val="333399"/>
                </a:solidFill>
                <a:latin typeface="Arial"/>
                <a:cs typeface="Arial"/>
              </a:rPr>
              <a:t>Maven </a:t>
            </a:r>
            <a:r>
              <a:rPr sz="1733" b="1" spc="-7" dirty="0">
                <a:solidFill>
                  <a:srgbClr val="333399"/>
                </a:solidFill>
                <a:latin typeface="Arial"/>
                <a:cs typeface="Arial"/>
              </a:rPr>
              <a:t>POM File &amp; Project</a:t>
            </a:r>
            <a:r>
              <a:rPr sz="1733" b="1" spc="93" dirty="0">
                <a:solidFill>
                  <a:srgbClr val="333399"/>
                </a:solidFill>
                <a:latin typeface="Arial"/>
                <a:cs typeface="Arial"/>
              </a:rPr>
              <a:t> </a:t>
            </a:r>
            <a:r>
              <a:rPr sz="1733" b="1" spc="-7" dirty="0">
                <a:solidFill>
                  <a:srgbClr val="333399"/>
                </a:solidFill>
                <a:latin typeface="Arial"/>
                <a:cs typeface="Arial"/>
              </a:rPr>
              <a:t>Structure</a:t>
            </a:r>
            <a:endParaRPr sz="1733">
              <a:latin typeface="Arial"/>
              <a:cs typeface="Arial"/>
            </a:endParaRPr>
          </a:p>
        </p:txBody>
      </p:sp>
      <p:sp>
        <p:nvSpPr>
          <p:cNvPr id="7" name="object 7"/>
          <p:cNvSpPr/>
          <p:nvPr/>
        </p:nvSpPr>
        <p:spPr>
          <a:xfrm>
            <a:off x="306832" y="2999231"/>
            <a:ext cx="670560" cy="668867"/>
          </a:xfrm>
          <a:custGeom>
            <a:avLst/>
            <a:gdLst/>
            <a:ahLst/>
            <a:cxnLst/>
            <a:rect l="l" t="t" r="r" b="b"/>
            <a:pathLst>
              <a:path w="502920" h="501650">
                <a:moveTo>
                  <a:pt x="251460" y="0"/>
                </a:moveTo>
                <a:lnTo>
                  <a:pt x="206260" y="4039"/>
                </a:lnTo>
                <a:lnTo>
                  <a:pt x="163718" y="15687"/>
                </a:lnTo>
                <a:lnTo>
                  <a:pt x="124544" y="34233"/>
                </a:lnTo>
                <a:lnTo>
                  <a:pt x="89448" y="58969"/>
                </a:lnTo>
                <a:lnTo>
                  <a:pt x="59141" y="89187"/>
                </a:lnTo>
                <a:lnTo>
                  <a:pt x="34332" y="124177"/>
                </a:lnTo>
                <a:lnTo>
                  <a:pt x="15732" y="163232"/>
                </a:lnTo>
                <a:lnTo>
                  <a:pt x="4051" y="205641"/>
                </a:lnTo>
                <a:lnTo>
                  <a:pt x="0" y="250698"/>
                </a:lnTo>
                <a:lnTo>
                  <a:pt x="4051" y="295754"/>
                </a:lnTo>
                <a:lnTo>
                  <a:pt x="15732" y="338163"/>
                </a:lnTo>
                <a:lnTo>
                  <a:pt x="34332" y="377218"/>
                </a:lnTo>
                <a:lnTo>
                  <a:pt x="59141" y="412208"/>
                </a:lnTo>
                <a:lnTo>
                  <a:pt x="89448" y="442426"/>
                </a:lnTo>
                <a:lnTo>
                  <a:pt x="124544" y="467162"/>
                </a:lnTo>
                <a:lnTo>
                  <a:pt x="163718" y="485708"/>
                </a:lnTo>
                <a:lnTo>
                  <a:pt x="206260" y="497356"/>
                </a:lnTo>
                <a:lnTo>
                  <a:pt x="251460" y="501395"/>
                </a:lnTo>
                <a:lnTo>
                  <a:pt x="296659" y="497356"/>
                </a:lnTo>
                <a:lnTo>
                  <a:pt x="339201" y="485708"/>
                </a:lnTo>
                <a:lnTo>
                  <a:pt x="378375" y="467162"/>
                </a:lnTo>
                <a:lnTo>
                  <a:pt x="413471" y="442426"/>
                </a:lnTo>
                <a:lnTo>
                  <a:pt x="443778" y="412208"/>
                </a:lnTo>
                <a:lnTo>
                  <a:pt x="468587" y="377218"/>
                </a:lnTo>
                <a:lnTo>
                  <a:pt x="487187" y="338163"/>
                </a:lnTo>
                <a:lnTo>
                  <a:pt x="498868" y="295754"/>
                </a:lnTo>
                <a:lnTo>
                  <a:pt x="502919" y="250698"/>
                </a:lnTo>
                <a:lnTo>
                  <a:pt x="498868" y="205641"/>
                </a:lnTo>
                <a:lnTo>
                  <a:pt x="487187" y="163232"/>
                </a:lnTo>
                <a:lnTo>
                  <a:pt x="468587" y="124177"/>
                </a:lnTo>
                <a:lnTo>
                  <a:pt x="443778" y="89187"/>
                </a:lnTo>
                <a:lnTo>
                  <a:pt x="413471" y="58969"/>
                </a:lnTo>
                <a:lnTo>
                  <a:pt x="378375" y="34233"/>
                </a:lnTo>
                <a:lnTo>
                  <a:pt x="339201" y="15687"/>
                </a:lnTo>
                <a:lnTo>
                  <a:pt x="296659" y="4039"/>
                </a:lnTo>
                <a:lnTo>
                  <a:pt x="251460" y="0"/>
                </a:lnTo>
                <a:close/>
              </a:path>
            </a:pathLst>
          </a:custGeom>
          <a:solidFill>
            <a:srgbClr val="000066"/>
          </a:solidFill>
        </p:spPr>
        <p:txBody>
          <a:bodyPr wrap="square" lIns="0" tIns="0" rIns="0" bIns="0" rtlCol="0"/>
          <a:lstStyle/>
          <a:p>
            <a:endParaRPr/>
          </a:p>
        </p:txBody>
      </p:sp>
      <p:sp>
        <p:nvSpPr>
          <p:cNvPr id="8" name="object 8"/>
          <p:cNvSpPr txBox="1"/>
          <p:nvPr/>
        </p:nvSpPr>
        <p:spPr>
          <a:xfrm>
            <a:off x="574378" y="3200570"/>
            <a:ext cx="138007" cy="242866"/>
          </a:xfrm>
          <a:prstGeom prst="rect">
            <a:avLst/>
          </a:prstGeom>
        </p:spPr>
        <p:txBody>
          <a:bodyPr vert="horz" wrap="square" lIns="0" tIns="16933" rIns="0" bIns="0" rtlCol="0">
            <a:spAutoFit/>
          </a:bodyPr>
          <a:lstStyle/>
          <a:p>
            <a:pPr marL="16933">
              <a:spcBef>
                <a:spcPts val="133"/>
              </a:spcBef>
            </a:pPr>
            <a:r>
              <a:rPr sz="1467" b="1" dirty="0">
                <a:solidFill>
                  <a:srgbClr val="FFFFFF"/>
                </a:solidFill>
                <a:latin typeface="Arial"/>
                <a:cs typeface="Arial"/>
              </a:rPr>
              <a:t>2</a:t>
            </a:r>
            <a:endParaRPr sz="1467">
              <a:latin typeface="Arial"/>
              <a:cs typeface="Arial"/>
            </a:endParaRPr>
          </a:p>
        </p:txBody>
      </p:sp>
      <p:sp>
        <p:nvSpPr>
          <p:cNvPr id="9" name="object 9"/>
          <p:cNvSpPr txBox="1"/>
          <p:nvPr/>
        </p:nvSpPr>
        <p:spPr>
          <a:xfrm>
            <a:off x="1083191" y="4366937"/>
            <a:ext cx="3668607" cy="282920"/>
          </a:xfrm>
          <a:prstGeom prst="rect">
            <a:avLst/>
          </a:prstGeom>
        </p:spPr>
        <p:txBody>
          <a:bodyPr vert="horz" wrap="square" lIns="0" tIns="16087" rIns="0" bIns="0" rtlCol="0">
            <a:spAutoFit/>
          </a:bodyPr>
          <a:lstStyle/>
          <a:p>
            <a:pPr marL="16933">
              <a:spcBef>
                <a:spcPts val="127"/>
              </a:spcBef>
            </a:pPr>
            <a:r>
              <a:rPr sz="1733" b="1" spc="-7" dirty="0">
                <a:solidFill>
                  <a:srgbClr val="333399"/>
                </a:solidFill>
                <a:latin typeface="Arial"/>
                <a:cs typeface="Arial"/>
              </a:rPr>
              <a:t>Create, Build &amp; </a:t>
            </a:r>
            <a:r>
              <a:rPr sz="1733" b="1" spc="-40" dirty="0">
                <a:solidFill>
                  <a:srgbClr val="333399"/>
                </a:solidFill>
                <a:latin typeface="Arial"/>
                <a:cs typeface="Arial"/>
              </a:rPr>
              <a:t>Test </a:t>
            </a:r>
            <a:r>
              <a:rPr sz="1733" b="1" spc="-13" dirty="0">
                <a:solidFill>
                  <a:srgbClr val="333399"/>
                </a:solidFill>
                <a:latin typeface="Arial"/>
                <a:cs typeface="Arial"/>
              </a:rPr>
              <a:t>Maven</a:t>
            </a:r>
            <a:r>
              <a:rPr sz="1733" b="1" spc="167" dirty="0">
                <a:solidFill>
                  <a:srgbClr val="333399"/>
                </a:solidFill>
                <a:latin typeface="Arial"/>
                <a:cs typeface="Arial"/>
              </a:rPr>
              <a:t> </a:t>
            </a:r>
            <a:r>
              <a:rPr sz="1733" b="1" spc="-7" dirty="0">
                <a:solidFill>
                  <a:srgbClr val="333399"/>
                </a:solidFill>
                <a:latin typeface="Arial"/>
                <a:cs typeface="Arial"/>
              </a:rPr>
              <a:t>Project</a:t>
            </a:r>
            <a:endParaRPr sz="1733">
              <a:latin typeface="Arial"/>
              <a:cs typeface="Arial"/>
            </a:endParaRPr>
          </a:p>
        </p:txBody>
      </p:sp>
      <p:sp>
        <p:nvSpPr>
          <p:cNvPr id="10" name="object 10"/>
          <p:cNvSpPr/>
          <p:nvPr/>
        </p:nvSpPr>
        <p:spPr>
          <a:xfrm>
            <a:off x="306832" y="4167631"/>
            <a:ext cx="670560" cy="668867"/>
          </a:xfrm>
          <a:custGeom>
            <a:avLst/>
            <a:gdLst/>
            <a:ahLst/>
            <a:cxnLst/>
            <a:rect l="l" t="t" r="r" b="b"/>
            <a:pathLst>
              <a:path w="502920" h="501650">
                <a:moveTo>
                  <a:pt x="251460" y="0"/>
                </a:moveTo>
                <a:lnTo>
                  <a:pt x="206260" y="4039"/>
                </a:lnTo>
                <a:lnTo>
                  <a:pt x="163718" y="15687"/>
                </a:lnTo>
                <a:lnTo>
                  <a:pt x="124544" y="34233"/>
                </a:lnTo>
                <a:lnTo>
                  <a:pt x="89448" y="58969"/>
                </a:lnTo>
                <a:lnTo>
                  <a:pt x="59141" y="89187"/>
                </a:lnTo>
                <a:lnTo>
                  <a:pt x="34332" y="124177"/>
                </a:lnTo>
                <a:lnTo>
                  <a:pt x="15732" y="163232"/>
                </a:lnTo>
                <a:lnTo>
                  <a:pt x="4051" y="205641"/>
                </a:lnTo>
                <a:lnTo>
                  <a:pt x="0" y="250698"/>
                </a:lnTo>
                <a:lnTo>
                  <a:pt x="4051" y="295754"/>
                </a:lnTo>
                <a:lnTo>
                  <a:pt x="15732" y="338163"/>
                </a:lnTo>
                <a:lnTo>
                  <a:pt x="34332" y="377218"/>
                </a:lnTo>
                <a:lnTo>
                  <a:pt x="59141" y="412208"/>
                </a:lnTo>
                <a:lnTo>
                  <a:pt x="89448" y="442426"/>
                </a:lnTo>
                <a:lnTo>
                  <a:pt x="124544" y="467162"/>
                </a:lnTo>
                <a:lnTo>
                  <a:pt x="163718" y="485708"/>
                </a:lnTo>
                <a:lnTo>
                  <a:pt x="206260" y="497356"/>
                </a:lnTo>
                <a:lnTo>
                  <a:pt x="251460" y="501395"/>
                </a:lnTo>
                <a:lnTo>
                  <a:pt x="296659" y="497356"/>
                </a:lnTo>
                <a:lnTo>
                  <a:pt x="339201" y="485708"/>
                </a:lnTo>
                <a:lnTo>
                  <a:pt x="378375" y="467162"/>
                </a:lnTo>
                <a:lnTo>
                  <a:pt x="413471" y="442426"/>
                </a:lnTo>
                <a:lnTo>
                  <a:pt x="443778" y="412208"/>
                </a:lnTo>
                <a:lnTo>
                  <a:pt x="468587" y="377218"/>
                </a:lnTo>
                <a:lnTo>
                  <a:pt x="487187" y="338163"/>
                </a:lnTo>
                <a:lnTo>
                  <a:pt x="498868" y="295754"/>
                </a:lnTo>
                <a:lnTo>
                  <a:pt x="502919" y="250698"/>
                </a:lnTo>
                <a:lnTo>
                  <a:pt x="498868" y="205641"/>
                </a:lnTo>
                <a:lnTo>
                  <a:pt x="487187" y="163232"/>
                </a:lnTo>
                <a:lnTo>
                  <a:pt x="468587" y="124177"/>
                </a:lnTo>
                <a:lnTo>
                  <a:pt x="443778" y="89187"/>
                </a:lnTo>
                <a:lnTo>
                  <a:pt x="413471" y="58969"/>
                </a:lnTo>
                <a:lnTo>
                  <a:pt x="378375" y="34233"/>
                </a:lnTo>
                <a:lnTo>
                  <a:pt x="339201" y="15687"/>
                </a:lnTo>
                <a:lnTo>
                  <a:pt x="296659" y="4039"/>
                </a:lnTo>
                <a:lnTo>
                  <a:pt x="251460" y="0"/>
                </a:lnTo>
                <a:close/>
              </a:path>
            </a:pathLst>
          </a:custGeom>
          <a:solidFill>
            <a:srgbClr val="000066"/>
          </a:solidFill>
        </p:spPr>
        <p:txBody>
          <a:bodyPr wrap="square" lIns="0" tIns="0" rIns="0" bIns="0" rtlCol="0"/>
          <a:lstStyle/>
          <a:p>
            <a:endParaRPr/>
          </a:p>
        </p:txBody>
      </p:sp>
      <p:sp>
        <p:nvSpPr>
          <p:cNvPr id="11" name="object 11"/>
          <p:cNvSpPr txBox="1"/>
          <p:nvPr/>
        </p:nvSpPr>
        <p:spPr>
          <a:xfrm>
            <a:off x="574378" y="4367785"/>
            <a:ext cx="138007" cy="242866"/>
          </a:xfrm>
          <a:prstGeom prst="rect">
            <a:avLst/>
          </a:prstGeom>
        </p:spPr>
        <p:txBody>
          <a:bodyPr vert="horz" wrap="square" lIns="0" tIns="16933" rIns="0" bIns="0" rtlCol="0">
            <a:spAutoFit/>
          </a:bodyPr>
          <a:lstStyle/>
          <a:p>
            <a:pPr marL="16933">
              <a:spcBef>
                <a:spcPts val="133"/>
              </a:spcBef>
            </a:pPr>
            <a:r>
              <a:rPr sz="1467" b="1" dirty="0">
                <a:solidFill>
                  <a:srgbClr val="FFFFFF"/>
                </a:solidFill>
                <a:latin typeface="Arial"/>
                <a:cs typeface="Arial"/>
              </a:rPr>
              <a:t>3</a:t>
            </a:r>
            <a:endParaRPr sz="1467">
              <a:latin typeface="Arial"/>
              <a:cs typeface="Arial"/>
            </a:endParaRPr>
          </a:p>
        </p:txBody>
      </p:sp>
      <p:sp>
        <p:nvSpPr>
          <p:cNvPr id="12" name="object 12"/>
          <p:cNvSpPr txBox="1"/>
          <p:nvPr/>
        </p:nvSpPr>
        <p:spPr>
          <a:xfrm>
            <a:off x="1083191" y="5525549"/>
            <a:ext cx="2431627" cy="282920"/>
          </a:xfrm>
          <a:prstGeom prst="rect">
            <a:avLst/>
          </a:prstGeom>
        </p:spPr>
        <p:txBody>
          <a:bodyPr vert="horz" wrap="square" lIns="0" tIns="16087" rIns="0" bIns="0" rtlCol="0">
            <a:spAutoFit/>
          </a:bodyPr>
          <a:lstStyle/>
          <a:p>
            <a:pPr marL="16933">
              <a:spcBef>
                <a:spcPts val="127"/>
              </a:spcBef>
            </a:pPr>
            <a:r>
              <a:rPr sz="1733" b="1" spc="-13" dirty="0">
                <a:solidFill>
                  <a:srgbClr val="333399"/>
                </a:solidFill>
                <a:latin typeface="Arial"/>
                <a:cs typeface="Arial"/>
              </a:rPr>
              <a:t>Maven </a:t>
            </a:r>
            <a:r>
              <a:rPr sz="1733" b="1" spc="-7" dirty="0">
                <a:solidFill>
                  <a:srgbClr val="333399"/>
                </a:solidFill>
                <a:latin typeface="Arial"/>
                <a:cs typeface="Arial"/>
              </a:rPr>
              <a:t>Build Life</a:t>
            </a:r>
            <a:r>
              <a:rPr sz="1733" b="1" spc="93" dirty="0">
                <a:solidFill>
                  <a:srgbClr val="333399"/>
                </a:solidFill>
                <a:latin typeface="Arial"/>
                <a:cs typeface="Arial"/>
              </a:rPr>
              <a:t> </a:t>
            </a:r>
            <a:r>
              <a:rPr sz="1733" b="1" spc="-20" dirty="0">
                <a:solidFill>
                  <a:srgbClr val="333399"/>
                </a:solidFill>
                <a:latin typeface="Arial"/>
                <a:cs typeface="Arial"/>
              </a:rPr>
              <a:t>Cycle</a:t>
            </a:r>
            <a:endParaRPr sz="1733">
              <a:latin typeface="Arial"/>
              <a:cs typeface="Arial"/>
            </a:endParaRPr>
          </a:p>
        </p:txBody>
      </p:sp>
      <p:sp>
        <p:nvSpPr>
          <p:cNvPr id="13" name="object 13"/>
          <p:cNvSpPr/>
          <p:nvPr/>
        </p:nvSpPr>
        <p:spPr>
          <a:xfrm>
            <a:off x="306832" y="5279136"/>
            <a:ext cx="670560" cy="668867"/>
          </a:xfrm>
          <a:custGeom>
            <a:avLst/>
            <a:gdLst/>
            <a:ahLst/>
            <a:cxnLst/>
            <a:rect l="l" t="t" r="r" b="b"/>
            <a:pathLst>
              <a:path w="502920" h="501650">
                <a:moveTo>
                  <a:pt x="251460" y="0"/>
                </a:moveTo>
                <a:lnTo>
                  <a:pt x="206260" y="4039"/>
                </a:lnTo>
                <a:lnTo>
                  <a:pt x="163718" y="15684"/>
                </a:lnTo>
                <a:lnTo>
                  <a:pt x="124544" y="34227"/>
                </a:lnTo>
                <a:lnTo>
                  <a:pt x="89448" y="58961"/>
                </a:lnTo>
                <a:lnTo>
                  <a:pt x="59141" y="89176"/>
                </a:lnTo>
                <a:lnTo>
                  <a:pt x="34332" y="124166"/>
                </a:lnTo>
                <a:lnTo>
                  <a:pt x="15732" y="163221"/>
                </a:lnTo>
                <a:lnTo>
                  <a:pt x="4051" y="205635"/>
                </a:lnTo>
                <a:lnTo>
                  <a:pt x="0" y="250698"/>
                </a:lnTo>
                <a:lnTo>
                  <a:pt x="4051" y="295760"/>
                </a:lnTo>
                <a:lnTo>
                  <a:pt x="15732" y="338174"/>
                </a:lnTo>
                <a:lnTo>
                  <a:pt x="34332" y="377229"/>
                </a:lnTo>
                <a:lnTo>
                  <a:pt x="59141" y="412219"/>
                </a:lnTo>
                <a:lnTo>
                  <a:pt x="89448" y="442434"/>
                </a:lnTo>
                <a:lnTo>
                  <a:pt x="124544" y="467168"/>
                </a:lnTo>
                <a:lnTo>
                  <a:pt x="163718" y="485711"/>
                </a:lnTo>
                <a:lnTo>
                  <a:pt x="206260" y="497356"/>
                </a:lnTo>
                <a:lnTo>
                  <a:pt x="251460" y="501396"/>
                </a:lnTo>
                <a:lnTo>
                  <a:pt x="296659" y="497356"/>
                </a:lnTo>
                <a:lnTo>
                  <a:pt x="339201" y="485711"/>
                </a:lnTo>
                <a:lnTo>
                  <a:pt x="378375" y="467168"/>
                </a:lnTo>
                <a:lnTo>
                  <a:pt x="413471" y="442434"/>
                </a:lnTo>
                <a:lnTo>
                  <a:pt x="443778" y="412219"/>
                </a:lnTo>
                <a:lnTo>
                  <a:pt x="468587" y="377229"/>
                </a:lnTo>
                <a:lnTo>
                  <a:pt x="487187" y="338174"/>
                </a:lnTo>
                <a:lnTo>
                  <a:pt x="498868" y="295760"/>
                </a:lnTo>
                <a:lnTo>
                  <a:pt x="502919" y="250698"/>
                </a:lnTo>
                <a:lnTo>
                  <a:pt x="498868" y="205635"/>
                </a:lnTo>
                <a:lnTo>
                  <a:pt x="487187" y="163221"/>
                </a:lnTo>
                <a:lnTo>
                  <a:pt x="468587" y="124166"/>
                </a:lnTo>
                <a:lnTo>
                  <a:pt x="443778" y="89176"/>
                </a:lnTo>
                <a:lnTo>
                  <a:pt x="413471" y="58961"/>
                </a:lnTo>
                <a:lnTo>
                  <a:pt x="378375" y="34227"/>
                </a:lnTo>
                <a:lnTo>
                  <a:pt x="339201" y="15684"/>
                </a:lnTo>
                <a:lnTo>
                  <a:pt x="296659" y="4039"/>
                </a:lnTo>
                <a:lnTo>
                  <a:pt x="251460" y="0"/>
                </a:lnTo>
                <a:close/>
              </a:path>
            </a:pathLst>
          </a:custGeom>
          <a:solidFill>
            <a:srgbClr val="000066"/>
          </a:solidFill>
        </p:spPr>
        <p:txBody>
          <a:bodyPr wrap="square" lIns="0" tIns="0" rIns="0" bIns="0" rtlCol="0"/>
          <a:lstStyle/>
          <a:p>
            <a:endParaRPr/>
          </a:p>
        </p:txBody>
      </p:sp>
      <p:sp>
        <p:nvSpPr>
          <p:cNvPr id="14" name="object 14"/>
          <p:cNvSpPr txBox="1"/>
          <p:nvPr/>
        </p:nvSpPr>
        <p:spPr>
          <a:xfrm>
            <a:off x="574378" y="5480440"/>
            <a:ext cx="138007" cy="242866"/>
          </a:xfrm>
          <a:prstGeom prst="rect">
            <a:avLst/>
          </a:prstGeom>
        </p:spPr>
        <p:txBody>
          <a:bodyPr vert="horz" wrap="square" lIns="0" tIns="16933" rIns="0" bIns="0" rtlCol="0">
            <a:spAutoFit/>
          </a:bodyPr>
          <a:lstStyle/>
          <a:p>
            <a:pPr marL="16933">
              <a:spcBef>
                <a:spcPts val="133"/>
              </a:spcBef>
            </a:pPr>
            <a:r>
              <a:rPr sz="1467" b="1" dirty="0">
                <a:solidFill>
                  <a:srgbClr val="FFFFFF"/>
                </a:solidFill>
                <a:latin typeface="Arial"/>
                <a:cs typeface="Arial"/>
              </a:rPr>
              <a:t>4</a:t>
            </a:r>
            <a:endParaRPr sz="1467">
              <a:latin typeface="Arial"/>
              <a:cs typeface="Arial"/>
            </a:endParaRPr>
          </a:p>
        </p:txBody>
      </p:sp>
      <p:sp>
        <p:nvSpPr>
          <p:cNvPr id="15" name="object 15"/>
          <p:cNvSpPr/>
          <p:nvPr/>
        </p:nvSpPr>
        <p:spPr>
          <a:xfrm>
            <a:off x="6154928" y="1830832"/>
            <a:ext cx="670560" cy="668867"/>
          </a:xfrm>
          <a:custGeom>
            <a:avLst/>
            <a:gdLst/>
            <a:ahLst/>
            <a:cxnLst/>
            <a:rect l="l" t="t" r="r" b="b"/>
            <a:pathLst>
              <a:path w="502920" h="501650">
                <a:moveTo>
                  <a:pt x="251459" y="0"/>
                </a:moveTo>
                <a:lnTo>
                  <a:pt x="206243" y="4039"/>
                </a:lnTo>
                <a:lnTo>
                  <a:pt x="163693" y="15687"/>
                </a:lnTo>
                <a:lnTo>
                  <a:pt x="124516" y="34233"/>
                </a:lnTo>
                <a:lnTo>
                  <a:pt x="89422" y="58969"/>
                </a:lnTo>
                <a:lnTo>
                  <a:pt x="59120" y="89187"/>
                </a:lnTo>
                <a:lnTo>
                  <a:pt x="34318" y="124177"/>
                </a:lnTo>
                <a:lnTo>
                  <a:pt x="15725" y="163232"/>
                </a:lnTo>
                <a:lnTo>
                  <a:pt x="4049" y="205641"/>
                </a:lnTo>
                <a:lnTo>
                  <a:pt x="0" y="250698"/>
                </a:lnTo>
                <a:lnTo>
                  <a:pt x="4049" y="295754"/>
                </a:lnTo>
                <a:lnTo>
                  <a:pt x="15725" y="338163"/>
                </a:lnTo>
                <a:lnTo>
                  <a:pt x="34318" y="377218"/>
                </a:lnTo>
                <a:lnTo>
                  <a:pt x="59120" y="412208"/>
                </a:lnTo>
                <a:lnTo>
                  <a:pt x="89422" y="442426"/>
                </a:lnTo>
                <a:lnTo>
                  <a:pt x="124516" y="467162"/>
                </a:lnTo>
                <a:lnTo>
                  <a:pt x="163693" y="485708"/>
                </a:lnTo>
                <a:lnTo>
                  <a:pt x="206243" y="497356"/>
                </a:lnTo>
                <a:lnTo>
                  <a:pt x="251459" y="501396"/>
                </a:lnTo>
                <a:lnTo>
                  <a:pt x="296676" y="497356"/>
                </a:lnTo>
                <a:lnTo>
                  <a:pt x="339226" y="485708"/>
                </a:lnTo>
                <a:lnTo>
                  <a:pt x="378403" y="467162"/>
                </a:lnTo>
                <a:lnTo>
                  <a:pt x="413497" y="442426"/>
                </a:lnTo>
                <a:lnTo>
                  <a:pt x="443799" y="412208"/>
                </a:lnTo>
                <a:lnTo>
                  <a:pt x="468601" y="377218"/>
                </a:lnTo>
                <a:lnTo>
                  <a:pt x="487194" y="338163"/>
                </a:lnTo>
                <a:lnTo>
                  <a:pt x="498870" y="295754"/>
                </a:lnTo>
                <a:lnTo>
                  <a:pt x="502919" y="250698"/>
                </a:lnTo>
                <a:lnTo>
                  <a:pt x="498870" y="205641"/>
                </a:lnTo>
                <a:lnTo>
                  <a:pt x="487194" y="163232"/>
                </a:lnTo>
                <a:lnTo>
                  <a:pt x="468601" y="124177"/>
                </a:lnTo>
                <a:lnTo>
                  <a:pt x="443799" y="89187"/>
                </a:lnTo>
                <a:lnTo>
                  <a:pt x="413497" y="58969"/>
                </a:lnTo>
                <a:lnTo>
                  <a:pt x="378403" y="34233"/>
                </a:lnTo>
                <a:lnTo>
                  <a:pt x="339226" y="15687"/>
                </a:lnTo>
                <a:lnTo>
                  <a:pt x="296676" y="4039"/>
                </a:lnTo>
                <a:lnTo>
                  <a:pt x="251459" y="0"/>
                </a:lnTo>
                <a:close/>
              </a:path>
            </a:pathLst>
          </a:custGeom>
          <a:solidFill>
            <a:srgbClr val="000066"/>
          </a:solidFill>
        </p:spPr>
        <p:txBody>
          <a:bodyPr wrap="square" lIns="0" tIns="0" rIns="0" bIns="0" rtlCol="0"/>
          <a:lstStyle/>
          <a:p>
            <a:endParaRPr/>
          </a:p>
        </p:txBody>
      </p:sp>
      <p:sp>
        <p:nvSpPr>
          <p:cNvPr id="16" name="object 16"/>
          <p:cNvSpPr txBox="1"/>
          <p:nvPr/>
        </p:nvSpPr>
        <p:spPr>
          <a:xfrm>
            <a:off x="6422136" y="1998473"/>
            <a:ext cx="1896533" cy="282920"/>
          </a:xfrm>
          <a:prstGeom prst="rect">
            <a:avLst/>
          </a:prstGeom>
        </p:spPr>
        <p:txBody>
          <a:bodyPr vert="horz" wrap="square" lIns="0" tIns="16087" rIns="0" bIns="0" rtlCol="0">
            <a:spAutoFit/>
          </a:bodyPr>
          <a:lstStyle/>
          <a:p>
            <a:pPr marL="16933">
              <a:spcBef>
                <a:spcPts val="127"/>
              </a:spcBef>
              <a:tabLst>
                <a:tab pos="524920" algn="l"/>
              </a:tabLst>
            </a:pPr>
            <a:r>
              <a:rPr sz="1467" b="1" dirty="0">
                <a:solidFill>
                  <a:srgbClr val="FFFFFF"/>
                </a:solidFill>
                <a:latin typeface="Arial"/>
                <a:cs typeface="Arial"/>
              </a:rPr>
              <a:t>5	</a:t>
            </a:r>
            <a:r>
              <a:rPr sz="1733" b="1" spc="-7" dirty="0">
                <a:solidFill>
                  <a:srgbClr val="333399"/>
                </a:solidFill>
                <a:latin typeface="Arial"/>
                <a:cs typeface="Arial"/>
              </a:rPr>
              <a:t>Lab/Exercise</a:t>
            </a:r>
            <a:endParaRPr sz="1733">
              <a:latin typeface="Arial"/>
              <a:cs typeface="Arial"/>
            </a:endParaRPr>
          </a:p>
        </p:txBody>
      </p:sp>
      <p:sp>
        <p:nvSpPr>
          <p:cNvPr id="17" name="object 17"/>
          <p:cNvSpPr/>
          <p:nvPr/>
        </p:nvSpPr>
        <p:spPr>
          <a:xfrm>
            <a:off x="6154928" y="2999231"/>
            <a:ext cx="670560" cy="668867"/>
          </a:xfrm>
          <a:custGeom>
            <a:avLst/>
            <a:gdLst/>
            <a:ahLst/>
            <a:cxnLst/>
            <a:rect l="l" t="t" r="r" b="b"/>
            <a:pathLst>
              <a:path w="502920" h="501650">
                <a:moveTo>
                  <a:pt x="251459" y="0"/>
                </a:moveTo>
                <a:lnTo>
                  <a:pt x="206243" y="4039"/>
                </a:lnTo>
                <a:lnTo>
                  <a:pt x="163693" y="15687"/>
                </a:lnTo>
                <a:lnTo>
                  <a:pt x="124516" y="34233"/>
                </a:lnTo>
                <a:lnTo>
                  <a:pt x="89422" y="58969"/>
                </a:lnTo>
                <a:lnTo>
                  <a:pt x="59120" y="89187"/>
                </a:lnTo>
                <a:lnTo>
                  <a:pt x="34318" y="124177"/>
                </a:lnTo>
                <a:lnTo>
                  <a:pt x="15725" y="163232"/>
                </a:lnTo>
                <a:lnTo>
                  <a:pt x="4049" y="205641"/>
                </a:lnTo>
                <a:lnTo>
                  <a:pt x="0" y="250698"/>
                </a:lnTo>
                <a:lnTo>
                  <a:pt x="4049" y="295754"/>
                </a:lnTo>
                <a:lnTo>
                  <a:pt x="15725" y="338163"/>
                </a:lnTo>
                <a:lnTo>
                  <a:pt x="34318" y="377218"/>
                </a:lnTo>
                <a:lnTo>
                  <a:pt x="59120" y="412208"/>
                </a:lnTo>
                <a:lnTo>
                  <a:pt x="89422" y="442426"/>
                </a:lnTo>
                <a:lnTo>
                  <a:pt x="124516" y="467162"/>
                </a:lnTo>
                <a:lnTo>
                  <a:pt x="163693" y="485708"/>
                </a:lnTo>
                <a:lnTo>
                  <a:pt x="206243" y="497356"/>
                </a:lnTo>
                <a:lnTo>
                  <a:pt x="251459" y="501395"/>
                </a:lnTo>
                <a:lnTo>
                  <a:pt x="296676" y="497356"/>
                </a:lnTo>
                <a:lnTo>
                  <a:pt x="339226" y="485708"/>
                </a:lnTo>
                <a:lnTo>
                  <a:pt x="378403" y="467162"/>
                </a:lnTo>
                <a:lnTo>
                  <a:pt x="413497" y="442426"/>
                </a:lnTo>
                <a:lnTo>
                  <a:pt x="443799" y="412208"/>
                </a:lnTo>
                <a:lnTo>
                  <a:pt x="468601" y="377218"/>
                </a:lnTo>
                <a:lnTo>
                  <a:pt x="487194" y="338163"/>
                </a:lnTo>
                <a:lnTo>
                  <a:pt x="498870" y="295754"/>
                </a:lnTo>
                <a:lnTo>
                  <a:pt x="502919" y="250698"/>
                </a:lnTo>
                <a:lnTo>
                  <a:pt x="498870" y="205641"/>
                </a:lnTo>
                <a:lnTo>
                  <a:pt x="487194" y="163232"/>
                </a:lnTo>
                <a:lnTo>
                  <a:pt x="468601" y="124177"/>
                </a:lnTo>
                <a:lnTo>
                  <a:pt x="443799" y="89187"/>
                </a:lnTo>
                <a:lnTo>
                  <a:pt x="413497" y="58969"/>
                </a:lnTo>
                <a:lnTo>
                  <a:pt x="378403" y="34233"/>
                </a:lnTo>
                <a:lnTo>
                  <a:pt x="339226" y="15687"/>
                </a:lnTo>
                <a:lnTo>
                  <a:pt x="296676" y="4039"/>
                </a:lnTo>
                <a:lnTo>
                  <a:pt x="251459" y="0"/>
                </a:lnTo>
                <a:close/>
              </a:path>
            </a:pathLst>
          </a:custGeom>
          <a:solidFill>
            <a:srgbClr val="000066"/>
          </a:solidFill>
        </p:spPr>
        <p:txBody>
          <a:bodyPr wrap="square" lIns="0" tIns="0" rIns="0" bIns="0" rtlCol="0"/>
          <a:lstStyle/>
          <a:p>
            <a:endParaRPr/>
          </a:p>
        </p:txBody>
      </p:sp>
      <p:sp>
        <p:nvSpPr>
          <p:cNvPr id="18" name="object 18"/>
          <p:cNvSpPr/>
          <p:nvPr/>
        </p:nvSpPr>
        <p:spPr>
          <a:xfrm>
            <a:off x="6154928" y="4167631"/>
            <a:ext cx="670560" cy="668867"/>
          </a:xfrm>
          <a:custGeom>
            <a:avLst/>
            <a:gdLst/>
            <a:ahLst/>
            <a:cxnLst/>
            <a:rect l="l" t="t" r="r" b="b"/>
            <a:pathLst>
              <a:path w="502920" h="501650">
                <a:moveTo>
                  <a:pt x="251459" y="0"/>
                </a:moveTo>
                <a:lnTo>
                  <a:pt x="206243" y="4039"/>
                </a:lnTo>
                <a:lnTo>
                  <a:pt x="163693" y="15687"/>
                </a:lnTo>
                <a:lnTo>
                  <a:pt x="124516" y="34233"/>
                </a:lnTo>
                <a:lnTo>
                  <a:pt x="89422" y="58969"/>
                </a:lnTo>
                <a:lnTo>
                  <a:pt x="59120" y="89187"/>
                </a:lnTo>
                <a:lnTo>
                  <a:pt x="34318" y="124177"/>
                </a:lnTo>
                <a:lnTo>
                  <a:pt x="15725" y="163232"/>
                </a:lnTo>
                <a:lnTo>
                  <a:pt x="4049" y="205641"/>
                </a:lnTo>
                <a:lnTo>
                  <a:pt x="0" y="250698"/>
                </a:lnTo>
                <a:lnTo>
                  <a:pt x="4049" y="295754"/>
                </a:lnTo>
                <a:lnTo>
                  <a:pt x="15725" y="338163"/>
                </a:lnTo>
                <a:lnTo>
                  <a:pt x="34318" y="377218"/>
                </a:lnTo>
                <a:lnTo>
                  <a:pt x="59120" y="412208"/>
                </a:lnTo>
                <a:lnTo>
                  <a:pt x="89422" y="442426"/>
                </a:lnTo>
                <a:lnTo>
                  <a:pt x="124516" y="467162"/>
                </a:lnTo>
                <a:lnTo>
                  <a:pt x="163693" y="485708"/>
                </a:lnTo>
                <a:lnTo>
                  <a:pt x="206243" y="497356"/>
                </a:lnTo>
                <a:lnTo>
                  <a:pt x="251459" y="501395"/>
                </a:lnTo>
                <a:lnTo>
                  <a:pt x="296676" y="497356"/>
                </a:lnTo>
                <a:lnTo>
                  <a:pt x="339226" y="485708"/>
                </a:lnTo>
                <a:lnTo>
                  <a:pt x="378403" y="467162"/>
                </a:lnTo>
                <a:lnTo>
                  <a:pt x="413497" y="442426"/>
                </a:lnTo>
                <a:lnTo>
                  <a:pt x="443799" y="412208"/>
                </a:lnTo>
                <a:lnTo>
                  <a:pt x="468601" y="377218"/>
                </a:lnTo>
                <a:lnTo>
                  <a:pt x="487194" y="338163"/>
                </a:lnTo>
                <a:lnTo>
                  <a:pt x="498870" y="295754"/>
                </a:lnTo>
                <a:lnTo>
                  <a:pt x="502919" y="250698"/>
                </a:lnTo>
                <a:lnTo>
                  <a:pt x="498870" y="205641"/>
                </a:lnTo>
                <a:lnTo>
                  <a:pt x="487194" y="163232"/>
                </a:lnTo>
                <a:lnTo>
                  <a:pt x="468601" y="124177"/>
                </a:lnTo>
                <a:lnTo>
                  <a:pt x="443799" y="89187"/>
                </a:lnTo>
                <a:lnTo>
                  <a:pt x="413497" y="58969"/>
                </a:lnTo>
                <a:lnTo>
                  <a:pt x="378403" y="34233"/>
                </a:lnTo>
                <a:lnTo>
                  <a:pt x="339226" y="15687"/>
                </a:lnTo>
                <a:lnTo>
                  <a:pt x="296676" y="4039"/>
                </a:lnTo>
                <a:lnTo>
                  <a:pt x="251459" y="0"/>
                </a:lnTo>
                <a:close/>
              </a:path>
            </a:pathLst>
          </a:custGeom>
          <a:solidFill>
            <a:srgbClr val="000066"/>
          </a:solidFill>
        </p:spPr>
        <p:txBody>
          <a:bodyPr wrap="square" lIns="0" tIns="0" rIns="0" bIns="0" rtlCol="0"/>
          <a:lstStyle/>
          <a:p>
            <a:endParaRPr/>
          </a:p>
        </p:txBody>
      </p:sp>
      <p:sp>
        <p:nvSpPr>
          <p:cNvPr id="19" name="object 19"/>
          <p:cNvSpPr txBox="1"/>
          <p:nvPr/>
        </p:nvSpPr>
        <p:spPr>
          <a:xfrm>
            <a:off x="1570181" y="112232"/>
            <a:ext cx="3953164" cy="182166"/>
          </a:xfrm>
          <a:prstGeom prst="rect">
            <a:avLst/>
          </a:prstGeom>
        </p:spPr>
        <p:txBody>
          <a:bodyPr vert="horz" wrap="square" lIns="0" tIns="17780" rIns="0" bIns="0" rtlCol="0">
            <a:spAutoFit/>
          </a:bodyPr>
          <a:lstStyle/>
          <a:p>
            <a:pPr marL="16933">
              <a:spcBef>
                <a:spcPts val="140"/>
              </a:spcBef>
            </a:pPr>
            <a:r>
              <a:rPr sz="1067" dirty="0">
                <a:solidFill>
                  <a:srgbClr val="4D4E5C"/>
                </a:solidFill>
                <a:latin typeface="Arial"/>
                <a:cs typeface="Arial"/>
              </a:rPr>
              <a:t>Basic </a:t>
            </a:r>
            <a:r>
              <a:rPr sz="1067" spc="-7" dirty="0">
                <a:solidFill>
                  <a:srgbClr val="4D4E5C"/>
                </a:solidFill>
                <a:latin typeface="Arial"/>
                <a:cs typeface="Arial"/>
              </a:rPr>
              <a:t>Maven </a:t>
            </a:r>
            <a:r>
              <a:rPr sz="1067" dirty="0">
                <a:solidFill>
                  <a:srgbClr val="4D4E5C"/>
                </a:solidFill>
                <a:latin typeface="Arial"/>
                <a:cs typeface="Arial"/>
              </a:rPr>
              <a:t>POM File </a:t>
            </a:r>
            <a:r>
              <a:rPr sz="1067" spc="-7" dirty="0">
                <a:solidFill>
                  <a:srgbClr val="4D4E5C"/>
                </a:solidFill>
                <a:latin typeface="Arial"/>
                <a:cs typeface="Arial"/>
              </a:rPr>
              <a:t>and </a:t>
            </a:r>
            <a:r>
              <a:rPr sz="1067" dirty="0">
                <a:solidFill>
                  <a:srgbClr val="4D4E5C"/>
                </a:solidFill>
                <a:latin typeface="Arial"/>
                <a:cs typeface="Arial"/>
              </a:rPr>
              <a:t>Project</a:t>
            </a:r>
            <a:r>
              <a:rPr sz="1067" spc="-20" dirty="0">
                <a:solidFill>
                  <a:srgbClr val="4D4E5C"/>
                </a:solidFill>
                <a:latin typeface="Arial"/>
                <a:cs typeface="Arial"/>
              </a:rPr>
              <a:t> </a:t>
            </a:r>
            <a:r>
              <a:rPr sz="1067" spc="-7" dirty="0">
                <a:solidFill>
                  <a:srgbClr val="4D4E5C"/>
                </a:solidFill>
                <a:latin typeface="Arial"/>
                <a:cs typeface="Arial"/>
              </a:rPr>
              <a:t>Structure</a:t>
            </a:r>
            <a:endParaRPr sz="1067" dirty="0">
              <a:latin typeface="Arial"/>
              <a:cs typeface="Arial"/>
            </a:endParaRPr>
          </a:p>
        </p:txBody>
      </p:sp>
      <p:sp>
        <p:nvSpPr>
          <p:cNvPr id="20" name="object 20"/>
          <p:cNvSpPr/>
          <p:nvPr/>
        </p:nvSpPr>
        <p:spPr>
          <a:xfrm>
            <a:off x="306832" y="1830832"/>
            <a:ext cx="670560" cy="668867"/>
          </a:xfrm>
          <a:custGeom>
            <a:avLst/>
            <a:gdLst/>
            <a:ahLst/>
            <a:cxnLst/>
            <a:rect l="l" t="t" r="r" b="b"/>
            <a:pathLst>
              <a:path w="502920" h="501650">
                <a:moveTo>
                  <a:pt x="251460" y="0"/>
                </a:moveTo>
                <a:lnTo>
                  <a:pt x="206260" y="4039"/>
                </a:lnTo>
                <a:lnTo>
                  <a:pt x="163718" y="15687"/>
                </a:lnTo>
                <a:lnTo>
                  <a:pt x="124544" y="34233"/>
                </a:lnTo>
                <a:lnTo>
                  <a:pt x="89448" y="58969"/>
                </a:lnTo>
                <a:lnTo>
                  <a:pt x="59141" y="89187"/>
                </a:lnTo>
                <a:lnTo>
                  <a:pt x="34332" y="124177"/>
                </a:lnTo>
                <a:lnTo>
                  <a:pt x="15732" y="163232"/>
                </a:lnTo>
                <a:lnTo>
                  <a:pt x="4051" y="205641"/>
                </a:lnTo>
                <a:lnTo>
                  <a:pt x="0" y="250698"/>
                </a:lnTo>
                <a:lnTo>
                  <a:pt x="4051" y="295754"/>
                </a:lnTo>
                <a:lnTo>
                  <a:pt x="15732" y="338163"/>
                </a:lnTo>
                <a:lnTo>
                  <a:pt x="34332" y="377218"/>
                </a:lnTo>
                <a:lnTo>
                  <a:pt x="59141" y="412208"/>
                </a:lnTo>
                <a:lnTo>
                  <a:pt x="89448" y="442426"/>
                </a:lnTo>
                <a:lnTo>
                  <a:pt x="124544" y="467162"/>
                </a:lnTo>
                <a:lnTo>
                  <a:pt x="163718" y="485708"/>
                </a:lnTo>
                <a:lnTo>
                  <a:pt x="206260" y="497356"/>
                </a:lnTo>
                <a:lnTo>
                  <a:pt x="251460" y="501396"/>
                </a:lnTo>
                <a:lnTo>
                  <a:pt x="296659" y="497356"/>
                </a:lnTo>
                <a:lnTo>
                  <a:pt x="339201" y="485708"/>
                </a:lnTo>
                <a:lnTo>
                  <a:pt x="378375" y="467162"/>
                </a:lnTo>
                <a:lnTo>
                  <a:pt x="413471" y="442426"/>
                </a:lnTo>
                <a:lnTo>
                  <a:pt x="443778" y="412208"/>
                </a:lnTo>
                <a:lnTo>
                  <a:pt x="468587" y="377218"/>
                </a:lnTo>
                <a:lnTo>
                  <a:pt x="487187" y="338163"/>
                </a:lnTo>
                <a:lnTo>
                  <a:pt x="498868" y="295754"/>
                </a:lnTo>
                <a:lnTo>
                  <a:pt x="502919" y="250698"/>
                </a:lnTo>
                <a:lnTo>
                  <a:pt x="498868" y="205641"/>
                </a:lnTo>
                <a:lnTo>
                  <a:pt x="487187" y="163232"/>
                </a:lnTo>
                <a:lnTo>
                  <a:pt x="468587" y="124177"/>
                </a:lnTo>
                <a:lnTo>
                  <a:pt x="443778" y="89187"/>
                </a:lnTo>
                <a:lnTo>
                  <a:pt x="413471" y="58969"/>
                </a:lnTo>
                <a:lnTo>
                  <a:pt x="378375" y="34233"/>
                </a:lnTo>
                <a:lnTo>
                  <a:pt x="339201" y="15687"/>
                </a:lnTo>
                <a:lnTo>
                  <a:pt x="296659" y="4039"/>
                </a:lnTo>
                <a:lnTo>
                  <a:pt x="251460" y="0"/>
                </a:lnTo>
                <a:close/>
              </a:path>
            </a:pathLst>
          </a:custGeom>
          <a:solidFill>
            <a:srgbClr val="000066"/>
          </a:solidFill>
        </p:spPr>
        <p:txBody>
          <a:bodyPr wrap="square" lIns="0" tIns="0" rIns="0" bIns="0" rtlCol="0"/>
          <a:lstStyle/>
          <a:p>
            <a:endParaRPr/>
          </a:p>
        </p:txBody>
      </p:sp>
      <p:sp>
        <p:nvSpPr>
          <p:cNvPr id="21" name="object 21"/>
          <p:cNvSpPr txBox="1"/>
          <p:nvPr/>
        </p:nvSpPr>
        <p:spPr>
          <a:xfrm>
            <a:off x="574377" y="1998472"/>
            <a:ext cx="2573019" cy="282920"/>
          </a:xfrm>
          <a:prstGeom prst="rect">
            <a:avLst/>
          </a:prstGeom>
        </p:spPr>
        <p:txBody>
          <a:bodyPr vert="horz" wrap="square" lIns="0" tIns="16087" rIns="0" bIns="0" rtlCol="0">
            <a:spAutoFit/>
          </a:bodyPr>
          <a:lstStyle/>
          <a:p>
            <a:pPr marL="16933">
              <a:spcBef>
                <a:spcPts val="127"/>
              </a:spcBef>
              <a:tabLst>
                <a:tab pos="524920" algn="l"/>
              </a:tabLst>
            </a:pPr>
            <a:r>
              <a:rPr sz="1467" b="1" dirty="0">
                <a:solidFill>
                  <a:srgbClr val="FFFFFF"/>
                </a:solidFill>
                <a:latin typeface="Arial"/>
                <a:cs typeface="Arial"/>
              </a:rPr>
              <a:t>1	</a:t>
            </a:r>
            <a:r>
              <a:rPr sz="1733" b="1" spc="-13" dirty="0">
                <a:solidFill>
                  <a:srgbClr val="333399"/>
                </a:solidFill>
                <a:latin typeface="Arial"/>
                <a:cs typeface="Arial"/>
              </a:rPr>
              <a:t>Maven</a:t>
            </a:r>
            <a:r>
              <a:rPr sz="1733" b="1" spc="7" dirty="0">
                <a:solidFill>
                  <a:srgbClr val="333399"/>
                </a:solidFill>
                <a:latin typeface="Arial"/>
                <a:cs typeface="Arial"/>
              </a:rPr>
              <a:t> </a:t>
            </a:r>
            <a:r>
              <a:rPr sz="1733" b="1" spc="-7" dirty="0">
                <a:solidFill>
                  <a:srgbClr val="333399"/>
                </a:solidFill>
                <a:latin typeface="Arial"/>
                <a:cs typeface="Arial"/>
              </a:rPr>
              <a:t>Introduction</a:t>
            </a:r>
            <a:endParaRPr sz="1733">
              <a:latin typeface="Arial"/>
              <a:cs typeface="Arial"/>
            </a:endParaRPr>
          </a:p>
        </p:txBody>
      </p:sp>
    </p:spTree>
    <p:extLst>
      <p:ext uri="{BB962C8B-B14F-4D97-AF65-F5344CB8AC3E}">
        <p14:creationId xmlns:p14="http://schemas.microsoft.com/office/powerpoint/2010/main" val="230327418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136073" y="93134"/>
            <a:ext cx="5264252" cy="479618"/>
          </a:xfrm>
          <a:prstGeom prst="rect">
            <a:avLst/>
          </a:prstGeom>
        </p:spPr>
        <p:txBody>
          <a:bodyPr vert="horz" wrap="square" lIns="0" tIns="17780" rIns="0" bIns="0" numCol="1" rtlCol="0" anchor="t" anchorCtr="0" compatLnSpc="1">
            <a:prstTxWarp prst="textNoShape">
              <a:avLst/>
            </a:prstTxWarp>
            <a:spAutoFit/>
          </a:bodyPr>
          <a:lstStyle/>
          <a:p>
            <a:pPr marL="16933">
              <a:spcBef>
                <a:spcPts val="140"/>
              </a:spcBef>
            </a:pPr>
            <a:r>
              <a:rPr dirty="0"/>
              <a:t>Step 3: Maven</a:t>
            </a:r>
            <a:r>
              <a:rPr spc="-100" dirty="0"/>
              <a:t> </a:t>
            </a:r>
            <a:r>
              <a:rPr dirty="0"/>
              <a:t>Configuration</a:t>
            </a:r>
          </a:p>
        </p:txBody>
      </p:sp>
      <p:sp>
        <p:nvSpPr>
          <p:cNvPr id="3" name="object 3"/>
          <p:cNvSpPr txBox="1"/>
          <p:nvPr/>
        </p:nvSpPr>
        <p:spPr>
          <a:xfrm>
            <a:off x="329726" y="785193"/>
            <a:ext cx="10033845" cy="4584546"/>
          </a:xfrm>
          <a:prstGeom prst="rect">
            <a:avLst/>
          </a:prstGeom>
        </p:spPr>
        <p:txBody>
          <a:bodyPr vert="horz" wrap="square" lIns="0" tIns="132927" rIns="0" bIns="0" rtlCol="0">
            <a:spAutoFit/>
          </a:bodyPr>
          <a:lstStyle/>
          <a:p>
            <a:pPr marL="325112" indent="-308179">
              <a:spcBef>
                <a:spcPts val="1047"/>
              </a:spcBef>
              <a:buClr>
                <a:srgbClr val="00AFEF"/>
              </a:buClr>
              <a:buFont typeface="Wingdings"/>
              <a:buChar char=""/>
              <a:tabLst>
                <a:tab pos="325959" algn="l"/>
              </a:tabLst>
            </a:pPr>
            <a:r>
              <a:rPr sz="2667" dirty="0">
                <a:solidFill>
                  <a:srgbClr val="4D4E5C"/>
                </a:solidFill>
                <a:latin typeface="Arial"/>
                <a:cs typeface="Arial"/>
              </a:rPr>
              <a:t>set M2_HOME=C:\ </a:t>
            </a:r>
            <a:r>
              <a:rPr sz="2667" spc="-7" dirty="0">
                <a:solidFill>
                  <a:srgbClr val="4D4E5C"/>
                </a:solidFill>
                <a:latin typeface="Arial"/>
                <a:cs typeface="Arial"/>
              </a:rPr>
              <a:t>avitepa</a:t>
            </a:r>
            <a:r>
              <a:rPr sz="2667" spc="-127" dirty="0">
                <a:solidFill>
                  <a:srgbClr val="4D4E5C"/>
                </a:solidFill>
                <a:latin typeface="Arial"/>
                <a:cs typeface="Arial"/>
              </a:rPr>
              <a:t> </a:t>
            </a:r>
            <a:r>
              <a:rPr sz="2667" spc="-7" dirty="0">
                <a:solidFill>
                  <a:srgbClr val="4D4E5C"/>
                </a:solidFill>
                <a:latin typeface="Arial"/>
                <a:cs typeface="Arial"/>
              </a:rPr>
              <a:t>\apache-maven-&lt;&lt;Version&gt;&gt;</a:t>
            </a:r>
            <a:endParaRPr sz="2667">
              <a:latin typeface="Arial"/>
              <a:cs typeface="Arial"/>
            </a:endParaRPr>
          </a:p>
          <a:p>
            <a:pPr marL="1008355" marR="1027828" lvl="1" indent="-381837">
              <a:spcBef>
                <a:spcPts val="813"/>
              </a:spcBef>
              <a:buClr>
                <a:srgbClr val="00AFEF"/>
              </a:buClr>
              <a:buFont typeface="Wingdings"/>
              <a:buChar char=""/>
              <a:tabLst>
                <a:tab pos="1008355" algn="l"/>
                <a:tab pos="1009201" algn="l"/>
              </a:tabLst>
            </a:pPr>
            <a:r>
              <a:rPr sz="2400" spc="-7" dirty="0">
                <a:solidFill>
                  <a:srgbClr val="4D4E5C"/>
                </a:solidFill>
                <a:latin typeface="Arial"/>
                <a:cs typeface="Arial"/>
              </a:rPr>
              <a:t>M2 is </a:t>
            </a:r>
            <a:r>
              <a:rPr sz="2400" dirty="0">
                <a:solidFill>
                  <a:srgbClr val="4D4E5C"/>
                </a:solidFill>
                <a:latin typeface="Arial"/>
                <a:cs typeface="Arial"/>
              </a:rPr>
              <a:t>the </a:t>
            </a:r>
            <a:r>
              <a:rPr sz="2400" spc="-7" dirty="0">
                <a:solidFill>
                  <a:srgbClr val="4D4E5C"/>
                </a:solidFill>
                <a:latin typeface="Arial"/>
                <a:cs typeface="Arial"/>
              </a:rPr>
              <a:t>variable defined </a:t>
            </a:r>
            <a:r>
              <a:rPr sz="2400" spc="-20" dirty="0">
                <a:solidFill>
                  <a:srgbClr val="4D4E5C"/>
                </a:solidFill>
                <a:latin typeface="Arial"/>
                <a:cs typeface="Arial"/>
              </a:rPr>
              <a:t>while </a:t>
            </a:r>
            <a:r>
              <a:rPr sz="2400" spc="-7" dirty="0">
                <a:solidFill>
                  <a:srgbClr val="4D4E5C"/>
                </a:solidFill>
                <a:latin typeface="Arial"/>
                <a:cs typeface="Arial"/>
              </a:rPr>
              <a:t>setting Maven environment  variables</a:t>
            </a:r>
            <a:endParaRPr sz="2400">
              <a:latin typeface="Arial"/>
              <a:cs typeface="Arial"/>
            </a:endParaRPr>
          </a:p>
          <a:p>
            <a:pPr marL="1008355" lvl="1" indent="-381837">
              <a:spcBef>
                <a:spcPts val="800"/>
              </a:spcBef>
              <a:buClr>
                <a:srgbClr val="00AFEF"/>
              </a:buClr>
              <a:buFont typeface="Wingdings"/>
              <a:buChar char=""/>
              <a:tabLst>
                <a:tab pos="1008355" algn="l"/>
                <a:tab pos="1009201" algn="l"/>
              </a:tabLst>
            </a:pPr>
            <a:r>
              <a:rPr sz="2400" spc="-13" dirty="0">
                <a:solidFill>
                  <a:srgbClr val="4D4E5C"/>
                </a:solidFill>
                <a:latin typeface="Arial"/>
                <a:cs typeface="Arial"/>
              </a:rPr>
              <a:t>Append </a:t>
            </a:r>
            <a:r>
              <a:rPr sz="2400" spc="-7" dirty="0">
                <a:solidFill>
                  <a:srgbClr val="4D4E5C"/>
                </a:solidFill>
                <a:latin typeface="Arial"/>
                <a:cs typeface="Arial"/>
              </a:rPr>
              <a:t>string %M2% </a:t>
            </a:r>
            <a:r>
              <a:rPr sz="2400" dirty="0">
                <a:solidFill>
                  <a:srgbClr val="4D4E5C"/>
                </a:solidFill>
                <a:latin typeface="Arial"/>
                <a:cs typeface="Arial"/>
              </a:rPr>
              <a:t>to </a:t>
            </a:r>
            <a:r>
              <a:rPr sz="2400" spc="-7" dirty="0">
                <a:solidFill>
                  <a:srgbClr val="4D4E5C"/>
                </a:solidFill>
                <a:latin typeface="Arial"/>
                <a:cs typeface="Arial"/>
              </a:rPr>
              <a:t>end of system variable</a:t>
            </a:r>
            <a:r>
              <a:rPr sz="2400" spc="87" dirty="0">
                <a:solidFill>
                  <a:srgbClr val="4D4E5C"/>
                </a:solidFill>
                <a:latin typeface="Arial"/>
                <a:cs typeface="Arial"/>
              </a:rPr>
              <a:t> </a:t>
            </a:r>
            <a:r>
              <a:rPr sz="2400" spc="-67" dirty="0">
                <a:solidFill>
                  <a:srgbClr val="4D4E5C"/>
                </a:solidFill>
                <a:latin typeface="Arial"/>
                <a:cs typeface="Arial"/>
              </a:rPr>
              <a:t>‘PATH’</a:t>
            </a:r>
            <a:endParaRPr sz="2400">
              <a:latin typeface="Arial"/>
              <a:cs typeface="Arial"/>
            </a:endParaRPr>
          </a:p>
          <a:p>
            <a:pPr lvl="1">
              <a:spcBef>
                <a:spcPts val="27"/>
              </a:spcBef>
              <a:buClr>
                <a:srgbClr val="00AFEF"/>
              </a:buClr>
              <a:buFont typeface="Wingdings"/>
              <a:buChar char=""/>
            </a:pPr>
            <a:endParaRPr sz="3867">
              <a:latin typeface="Times New Roman"/>
              <a:cs typeface="Times New Roman"/>
            </a:endParaRPr>
          </a:p>
          <a:p>
            <a:pPr marL="325112" indent="-308179">
              <a:buClr>
                <a:srgbClr val="00AFEF"/>
              </a:buClr>
              <a:buFont typeface="Wingdings"/>
              <a:buChar char=""/>
              <a:tabLst>
                <a:tab pos="325959" algn="l"/>
              </a:tabLst>
            </a:pPr>
            <a:r>
              <a:rPr sz="2667" dirty="0">
                <a:solidFill>
                  <a:srgbClr val="4D4E5C"/>
                </a:solidFill>
                <a:latin typeface="Arial"/>
                <a:cs typeface="Arial"/>
              </a:rPr>
              <a:t>verify </a:t>
            </a:r>
            <a:r>
              <a:rPr sz="2667" spc="-7" dirty="0">
                <a:solidFill>
                  <a:srgbClr val="4D4E5C"/>
                </a:solidFill>
                <a:latin typeface="Arial"/>
                <a:cs typeface="Arial"/>
              </a:rPr>
              <a:t>settings </a:t>
            </a:r>
            <a:r>
              <a:rPr sz="2667" dirty="0">
                <a:solidFill>
                  <a:srgbClr val="4D4E5C"/>
                </a:solidFill>
                <a:latin typeface="Arial"/>
                <a:cs typeface="Arial"/>
              </a:rPr>
              <a:t>with </a:t>
            </a:r>
            <a:r>
              <a:rPr sz="2667" spc="-7" dirty="0">
                <a:solidFill>
                  <a:srgbClr val="4D4E5C"/>
                </a:solidFill>
                <a:latin typeface="Arial"/>
                <a:cs typeface="Arial"/>
              </a:rPr>
              <a:t>‘set </a:t>
            </a:r>
            <a:r>
              <a:rPr sz="2667" dirty="0">
                <a:solidFill>
                  <a:srgbClr val="4D4E5C"/>
                </a:solidFill>
                <a:latin typeface="Arial"/>
                <a:cs typeface="Arial"/>
              </a:rPr>
              <a:t>M’ command to </a:t>
            </a:r>
            <a:r>
              <a:rPr sz="2667" spc="-7" dirty="0">
                <a:solidFill>
                  <a:srgbClr val="4D4E5C"/>
                </a:solidFill>
                <a:latin typeface="Arial"/>
                <a:cs typeface="Arial"/>
              </a:rPr>
              <a:t>list environment</a:t>
            </a:r>
            <a:r>
              <a:rPr sz="2667" spc="-260" dirty="0">
                <a:solidFill>
                  <a:srgbClr val="4D4E5C"/>
                </a:solidFill>
                <a:latin typeface="Arial"/>
                <a:cs typeface="Arial"/>
              </a:rPr>
              <a:t> </a:t>
            </a:r>
            <a:r>
              <a:rPr sz="2667" dirty="0">
                <a:solidFill>
                  <a:srgbClr val="4D4E5C"/>
                </a:solidFill>
                <a:latin typeface="Arial"/>
                <a:cs typeface="Arial"/>
              </a:rPr>
              <a:t>variables</a:t>
            </a:r>
            <a:endParaRPr sz="2667">
              <a:latin typeface="Arial"/>
              <a:cs typeface="Arial"/>
            </a:endParaRPr>
          </a:p>
          <a:p>
            <a:pPr marL="325112"/>
            <a:r>
              <a:rPr sz="2667" dirty="0">
                <a:solidFill>
                  <a:srgbClr val="4D4E5C"/>
                </a:solidFill>
                <a:latin typeface="Arial"/>
                <a:cs typeface="Arial"/>
              </a:rPr>
              <a:t>starting with</a:t>
            </a:r>
            <a:r>
              <a:rPr sz="2667" spc="-73" dirty="0">
                <a:solidFill>
                  <a:srgbClr val="4D4E5C"/>
                </a:solidFill>
                <a:latin typeface="Arial"/>
                <a:cs typeface="Arial"/>
              </a:rPr>
              <a:t> </a:t>
            </a:r>
            <a:r>
              <a:rPr sz="2667" dirty="0">
                <a:solidFill>
                  <a:srgbClr val="4D4E5C"/>
                </a:solidFill>
                <a:latin typeface="Arial"/>
                <a:cs typeface="Arial"/>
              </a:rPr>
              <a:t>'M'</a:t>
            </a:r>
            <a:endParaRPr sz="2667">
              <a:latin typeface="Arial"/>
              <a:cs typeface="Arial"/>
            </a:endParaRPr>
          </a:p>
          <a:p>
            <a:pPr marL="474121" marR="6234697">
              <a:lnSpc>
                <a:spcPts val="2585"/>
              </a:lnSpc>
              <a:spcBef>
                <a:spcPts val="133"/>
              </a:spcBef>
            </a:pPr>
            <a:r>
              <a:rPr sz="1467" spc="13" dirty="0">
                <a:solidFill>
                  <a:srgbClr val="4D4E5C"/>
                </a:solidFill>
                <a:latin typeface="Courier New"/>
                <a:cs typeface="Courier New"/>
              </a:rPr>
              <a:t>C:\Users\avitepa&gt;set </a:t>
            </a:r>
            <a:r>
              <a:rPr sz="1467" spc="20" dirty="0">
                <a:solidFill>
                  <a:srgbClr val="4D4E5C"/>
                </a:solidFill>
                <a:latin typeface="Courier New"/>
                <a:cs typeface="Courier New"/>
              </a:rPr>
              <a:t>M  </a:t>
            </a:r>
            <a:r>
              <a:rPr sz="1467" spc="13" dirty="0">
                <a:solidFill>
                  <a:srgbClr val="4D4E5C"/>
                </a:solidFill>
                <a:latin typeface="Courier New"/>
                <a:cs typeface="Courier New"/>
              </a:rPr>
              <a:t>M2_HOME=C:\apache-maven-3.3.9</a:t>
            </a:r>
            <a:endParaRPr sz="1467">
              <a:latin typeface="Courier New"/>
              <a:cs typeface="Courier New"/>
            </a:endParaRPr>
          </a:p>
          <a:p>
            <a:pPr marL="474121">
              <a:spcBef>
                <a:spcPts val="633"/>
              </a:spcBef>
            </a:pPr>
            <a:r>
              <a:rPr sz="1467" spc="13" dirty="0">
                <a:solidFill>
                  <a:srgbClr val="4D4E5C"/>
                </a:solidFill>
                <a:latin typeface="Courier New"/>
                <a:cs typeface="Courier New"/>
              </a:rPr>
              <a:t>MAVEN_HOME=C:\apache-maven-3.3.9</a:t>
            </a:r>
            <a:endParaRPr sz="1467">
              <a:latin typeface="Courier New"/>
              <a:cs typeface="Courier New"/>
            </a:endParaRPr>
          </a:p>
          <a:p>
            <a:pPr marL="474121">
              <a:spcBef>
                <a:spcPts val="833"/>
              </a:spcBef>
            </a:pPr>
            <a:r>
              <a:rPr sz="1467" spc="20" dirty="0">
                <a:solidFill>
                  <a:srgbClr val="4D4E5C"/>
                </a:solidFill>
                <a:latin typeface="Courier New"/>
                <a:cs typeface="Courier New"/>
              </a:rPr>
              <a:t>MAVEN_OPTS=Xms256m </a:t>
            </a:r>
            <a:r>
              <a:rPr sz="1467" spc="13" dirty="0">
                <a:solidFill>
                  <a:srgbClr val="4D4E5C"/>
                </a:solidFill>
                <a:latin typeface="Courier New"/>
                <a:cs typeface="Courier New"/>
              </a:rPr>
              <a:t>-Xmx1G -XX:PermSize </a:t>
            </a:r>
            <a:r>
              <a:rPr sz="1467" spc="20" dirty="0">
                <a:solidFill>
                  <a:srgbClr val="4D4E5C"/>
                </a:solidFill>
                <a:latin typeface="Courier New"/>
                <a:cs typeface="Courier New"/>
              </a:rPr>
              <a:t>= </a:t>
            </a:r>
            <a:r>
              <a:rPr sz="1467" spc="13" dirty="0">
                <a:solidFill>
                  <a:srgbClr val="4D4E5C"/>
                </a:solidFill>
                <a:latin typeface="Courier New"/>
                <a:cs typeface="Courier New"/>
              </a:rPr>
              <a:t>512m</a:t>
            </a:r>
            <a:r>
              <a:rPr sz="1467" spc="-60" dirty="0">
                <a:solidFill>
                  <a:srgbClr val="4D4E5C"/>
                </a:solidFill>
                <a:latin typeface="Courier New"/>
                <a:cs typeface="Courier New"/>
              </a:rPr>
              <a:t> </a:t>
            </a:r>
            <a:r>
              <a:rPr sz="1467" spc="13" dirty="0">
                <a:solidFill>
                  <a:srgbClr val="4D4E5C"/>
                </a:solidFill>
                <a:latin typeface="Courier New"/>
                <a:cs typeface="Courier New"/>
              </a:rPr>
              <a:t>–noverify</a:t>
            </a:r>
            <a:endParaRPr sz="1467">
              <a:latin typeface="Courier New"/>
              <a:cs typeface="Courier New"/>
            </a:endParaRPr>
          </a:p>
        </p:txBody>
      </p:sp>
      <p:sp>
        <p:nvSpPr>
          <p:cNvPr id="4" name="object 4"/>
          <p:cNvSpPr/>
          <p:nvPr/>
        </p:nvSpPr>
        <p:spPr>
          <a:xfrm>
            <a:off x="1739392" y="5819648"/>
            <a:ext cx="8806688" cy="770161"/>
          </a:xfrm>
          <a:prstGeom prst="rect">
            <a:avLst/>
          </a:prstGeom>
          <a:blipFill>
            <a:blip r:embed="rId2" cstate="print"/>
            <a:stretch>
              <a:fillRect/>
            </a:stretch>
          </a:blipFill>
        </p:spPr>
        <p:txBody>
          <a:bodyPr wrap="square" lIns="0" tIns="0" rIns="0" bIns="0" rtlCol="0"/>
          <a:lstStyle/>
          <a:p>
            <a:endParaRPr/>
          </a:p>
        </p:txBody>
      </p:sp>
      <p:sp>
        <p:nvSpPr>
          <p:cNvPr id="5" name="object 5"/>
          <p:cNvSpPr/>
          <p:nvPr/>
        </p:nvSpPr>
        <p:spPr>
          <a:xfrm>
            <a:off x="1975103" y="5831839"/>
            <a:ext cx="8755888" cy="796560"/>
          </a:xfrm>
          <a:prstGeom prst="rect">
            <a:avLst/>
          </a:prstGeom>
          <a:blipFill>
            <a:blip r:embed="rId3" cstate="print"/>
            <a:stretch>
              <a:fillRect/>
            </a:stretch>
          </a:blipFill>
        </p:spPr>
        <p:txBody>
          <a:bodyPr wrap="square" lIns="0" tIns="0" rIns="0" bIns="0" rtlCol="0"/>
          <a:lstStyle/>
          <a:p>
            <a:endParaRPr/>
          </a:p>
        </p:txBody>
      </p:sp>
      <p:sp>
        <p:nvSpPr>
          <p:cNvPr id="6" name="object 6"/>
          <p:cNvSpPr/>
          <p:nvPr/>
        </p:nvSpPr>
        <p:spPr>
          <a:xfrm>
            <a:off x="1802384" y="5852160"/>
            <a:ext cx="8686800" cy="650240"/>
          </a:xfrm>
          <a:prstGeom prst="rect">
            <a:avLst/>
          </a:prstGeom>
          <a:blipFill>
            <a:blip r:embed="rId4" cstate="print"/>
            <a:stretch>
              <a:fillRect/>
            </a:stretch>
          </a:blipFill>
        </p:spPr>
        <p:txBody>
          <a:bodyPr wrap="square" lIns="0" tIns="0" rIns="0" bIns="0" rtlCol="0"/>
          <a:lstStyle/>
          <a:p>
            <a:endParaRPr/>
          </a:p>
        </p:txBody>
      </p:sp>
      <p:sp>
        <p:nvSpPr>
          <p:cNvPr id="7" name="object 7"/>
          <p:cNvSpPr txBox="1"/>
          <p:nvPr/>
        </p:nvSpPr>
        <p:spPr>
          <a:xfrm>
            <a:off x="1802384" y="5852160"/>
            <a:ext cx="8686800" cy="560837"/>
          </a:xfrm>
          <a:prstGeom prst="rect">
            <a:avLst/>
          </a:prstGeom>
          <a:ln w="9144">
            <a:solidFill>
              <a:srgbClr val="F16E3A"/>
            </a:solidFill>
          </a:ln>
        </p:spPr>
        <p:txBody>
          <a:bodyPr vert="horz" wrap="square" lIns="0" tIns="55033" rIns="0" bIns="0" rtlCol="0">
            <a:spAutoFit/>
          </a:bodyPr>
          <a:lstStyle/>
          <a:p>
            <a:pPr marL="351358">
              <a:spcBef>
                <a:spcPts val="433"/>
              </a:spcBef>
            </a:pPr>
            <a:r>
              <a:rPr sz="1600" spc="-73" dirty="0">
                <a:solidFill>
                  <a:srgbClr val="FFFFFF"/>
                </a:solidFill>
                <a:latin typeface="Trebuchet MS"/>
                <a:cs typeface="Trebuchet MS"/>
              </a:rPr>
              <a:t>Note:</a:t>
            </a:r>
            <a:r>
              <a:rPr sz="1600" spc="-120" dirty="0">
                <a:solidFill>
                  <a:srgbClr val="FFFFFF"/>
                </a:solidFill>
                <a:latin typeface="Trebuchet MS"/>
                <a:cs typeface="Trebuchet MS"/>
              </a:rPr>
              <a:t> </a:t>
            </a:r>
            <a:r>
              <a:rPr sz="1600" spc="-73" dirty="0">
                <a:solidFill>
                  <a:srgbClr val="FFFFFF"/>
                </a:solidFill>
                <a:latin typeface="Trebuchet MS"/>
                <a:cs typeface="Trebuchet MS"/>
              </a:rPr>
              <a:t>If</a:t>
            </a:r>
            <a:r>
              <a:rPr sz="1600" spc="-127" dirty="0">
                <a:solidFill>
                  <a:srgbClr val="FFFFFF"/>
                </a:solidFill>
                <a:latin typeface="Trebuchet MS"/>
                <a:cs typeface="Trebuchet MS"/>
              </a:rPr>
              <a:t> </a:t>
            </a:r>
            <a:r>
              <a:rPr sz="1600" spc="-53" dirty="0">
                <a:solidFill>
                  <a:srgbClr val="FFFFFF"/>
                </a:solidFill>
                <a:latin typeface="Trebuchet MS"/>
                <a:cs typeface="Trebuchet MS"/>
              </a:rPr>
              <a:t>you</a:t>
            </a:r>
            <a:r>
              <a:rPr sz="1600" spc="-120" dirty="0">
                <a:solidFill>
                  <a:srgbClr val="FFFFFF"/>
                </a:solidFill>
                <a:latin typeface="Trebuchet MS"/>
                <a:cs typeface="Trebuchet MS"/>
              </a:rPr>
              <a:t> </a:t>
            </a:r>
            <a:r>
              <a:rPr sz="1600" spc="-93" dirty="0">
                <a:solidFill>
                  <a:srgbClr val="FFFFFF"/>
                </a:solidFill>
                <a:latin typeface="Trebuchet MS"/>
                <a:cs typeface="Trebuchet MS"/>
              </a:rPr>
              <a:t>get</a:t>
            </a:r>
            <a:r>
              <a:rPr sz="1600" spc="-107" dirty="0">
                <a:solidFill>
                  <a:srgbClr val="FFFFFF"/>
                </a:solidFill>
                <a:latin typeface="Trebuchet MS"/>
                <a:cs typeface="Trebuchet MS"/>
              </a:rPr>
              <a:t> </a:t>
            </a:r>
            <a:r>
              <a:rPr sz="1600" spc="-7" dirty="0">
                <a:solidFill>
                  <a:srgbClr val="FFFFFF"/>
                </a:solidFill>
                <a:latin typeface="Trebuchet MS"/>
                <a:cs typeface="Trebuchet MS"/>
              </a:rPr>
              <a:t>"out</a:t>
            </a:r>
            <a:r>
              <a:rPr sz="1600" spc="-140" dirty="0">
                <a:solidFill>
                  <a:srgbClr val="FFFFFF"/>
                </a:solidFill>
                <a:latin typeface="Trebuchet MS"/>
                <a:cs typeface="Trebuchet MS"/>
              </a:rPr>
              <a:t> </a:t>
            </a:r>
            <a:r>
              <a:rPr sz="1600" spc="-67" dirty="0">
                <a:solidFill>
                  <a:srgbClr val="FFFFFF"/>
                </a:solidFill>
                <a:latin typeface="Trebuchet MS"/>
                <a:cs typeface="Trebuchet MS"/>
              </a:rPr>
              <a:t>of</a:t>
            </a:r>
            <a:r>
              <a:rPr sz="1600" spc="-120" dirty="0">
                <a:solidFill>
                  <a:srgbClr val="FFFFFF"/>
                </a:solidFill>
                <a:latin typeface="Trebuchet MS"/>
                <a:cs typeface="Trebuchet MS"/>
              </a:rPr>
              <a:t> </a:t>
            </a:r>
            <a:r>
              <a:rPr sz="1600" spc="-27" dirty="0">
                <a:solidFill>
                  <a:srgbClr val="FFFFFF"/>
                </a:solidFill>
                <a:latin typeface="Trebuchet MS"/>
                <a:cs typeface="Trebuchet MS"/>
              </a:rPr>
              <a:t>memory"</a:t>
            </a:r>
            <a:r>
              <a:rPr sz="1600" spc="-120" dirty="0">
                <a:solidFill>
                  <a:srgbClr val="FFFFFF"/>
                </a:solidFill>
                <a:latin typeface="Trebuchet MS"/>
                <a:cs typeface="Trebuchet MS"/>
              </a:rPr>
              <a:t> </a:t>
            </a:r>
            <a:r>
              <a:rPr sz="1600" spc="-67" dirty="0">
                <a:solidFill>
                  <a:srgbClr val="FFFFFF"/>
                </a:solidFill>
                <a:latin typeface="Trebuchet MS"/>
                <a:cs typeface="Trebuchet MS"/>
              </a:rPr>
              <a:t>errors</a:t>
            </a:r>
            <a:r>
              <a:rPr sz="1600" spc="-120" dirty="0">
                <a:solidFill>
                  <a:srgbClr val="FFFFFF"/>
                </a:solidFill>
                <a:latin typeface="Trebuchet MS"/>
                <a:cs typeface="Trebuchet MS"/>
              </a:rPr>
              <a:t> </a:t>
            </a:r>
            <a:r>
              <a:rPr sz="1600" spc="-53" dirty="0">
                <a:solidFill>
                  <a:srgbClr val="FFFFFF"/>
                </a:solidFill>
                <a:latin typeface="Trebuchet MS"/>
                <a:cs typeface="Trebuchet MS"/>
              </a:rPr>
              <a:t>when</a:t>
            </a:r>
            <a:r>
              <a:rPr sz="1600" spc="-120" dirty="0">
                <a:solidFill>
                  <a:srgbClr val="FFFFFF"/>
                </a:solidFill>
                <a:latin typeface="Trebuchet MS"/>
                <a:cs typeface="Trebuchet MS"/>
              </a:rPr>
              <a:t> </a:t>
            </a:r>
            <a:r>
              <a:rPr sz="1600" spc="-53" dirty="0">
                <a:solidFill>
                  <a:srgbClr val="FFFFFF"/>
                </a:solidFill>
                <a:latin typeface="Trebuchet MS"/>
                <a:cs typeface="Trebuchet MS"/>
              </a:rPr>
              <a:t>running</a:t>
            </a:r>
            <a:r>
              <a:rPr sz="1600" spc="-180" dirty="0">
                <a:solidFill>
                  <a:srgbClr val="FFFFFF"/>
                </a:solidFill>
                <a:latin typeface="Trebuchet MS"/>
                <a:cs typeface="Trebuchet MS"/>
              </a:rPr>
              <a:t> </a:t>
            </a:r>
            <a:r>
              <a:rPr sz="1600" spc="-53" dirty="0">
                <a:solidFill>
                  <a:srgbClr val="FFFFFF"/>
                </a:solidFill>
                <a:latin typeface="Trebuchet MS"/>
                <a:cs typeface="Trebuchet MS"/>
              </a:rPr>
              <a:t>your</a:t>
            </a:r>
            <a:r>
              <a:rPr sz="1600" spc="-127" dirty="0">
                <a:solidFill>
                  <a:srgbClr val="FFFFFF"/>
                </a:solidFill>
                <a:latin typeface="Trebuchet MS"/>
                <a:cs typeface="Trebuchet MS"/>
              </a:rPr>
              <a:t> </a:t>
            </a:r>
            <a:r>
              <a:rPr sz="1600" spc="-100" dirty="0">
                <a:solidFill>
                  <a:srgbClr val="FFFFFF"/>
                </a:solidFill>
                <a:latin typeface="Trebuchet MS"/>
                <a:cs typeface="Trebuchet MS"/>
              </a:rPr>
              <a:t>projects,</a:t>
            </a:r>
            <a:r>
              <a:rPr sz="1600" spc="-133" dirty="0">
                <a:solidFill>
                  <a:srgbClr val="FFFFFF"/>
                </a:solidFill>
                <a:latin typeface="Trebuchet MS"/>
                <a:cs typeface="Trebuchet MS"/>
              </a:rPr>
              <a:t> </a:t>
            </a:r>
            <a:r>
              <a:rPr sz="1600" spc="-73" dirty="0">
                <a:solidFill>
                  <a:srgbClr val="FFFFFF"/>
                </a:solidFill>
                <a:latin typeface="Trebuchet MS"/>
                <a:cs typeface="Trebuchet MS"/>
              </a:rPr>
              <a:t>the</a:t>
            </a:r>
            <a:r>
              <a:rPr sz="1600" spc="-140" dirty="0">
                <a:solidFill>
                  <a:srgbClr val="FFFFFF"/>
                </a:solidFill>
                <a:latin typeface="Trebuchet MS"/>
                <a:cs typeface="Trebuchet MS"/>
              </a:rPr>
              <a:t> </a:t>
            </a:r>
            <a:r>
              <a:rPr sz="1600" spc="-80" dirty="0">
                <a:solidFill>
                  <a:srgbClr val="FFFFFF"/>
                </a:solidFill>
                <a:latin typeface="Trebuchet MS"/>
                <a:cs typeface="Trebuchet MS"/>
              </a:rPr>
              <a:t>specified</a:t>
            </a:r>
            <a:r>
              <a:rPr sz="1600" spc="-120" dirty="0">
                <a:solidFill>
                  <a:srgbClr val="FFFFFF"/>
                </a:solidFill>
                <a:latin typeface="Trebuchet MS"/>
                <a:cs typeface="Trebuchet MS"/>
              </a:rPr>
              <a:t> </a:t>
            </a:r>
            <a:r>
              <a:rPr sz="1600" spc="-53" dirty="0">
                <a:solidFill>
                  <a:srgbClr val="FFFFFF"/>
                </a:solidFill>
                <a:latin typeface="Trebuchet MS"/>
                <a:cs typeface="Trebuchet MS"/>
              </a:rPr>
              <a:t>memory</a:t>
            </a:r>
            <a:r>
              <a:rPr sz="1600" spc="-113" dirty="0">
                <a:solidFill>
                  <a:srgbClr val="FFFFFF"/>
                </a:solidFill>
                <a:latin typeface="Trebuchet MS"/>
                <a:cs typeface="Trebuchet MS"/>
              </a:rPr>
              <a:t> </a:t>
            </a:r>
            <a:r>
              <a:rPr sz="1600" spc="-67" dirty="0">
                <a:solidFill>
                  <a:srgbClr val="FFFFFF"/>
                </a:solidFill>
                <a:latin typeface="Trebuchet MS"/>
                <a:cs typeface="Trebuchet MS"/>
              </a:rPr>
              <a:t>settings</a:t>
            </a:r>
            <a:endParaRPr sz="1600" dirty="0">
              <a:latin typeface="Trebuchet MS"/>
              <a:cs typeface="Trebuchet MS"/>
            </a:endParaRPr>
          </a:p>
          <a:p>
            <a:pPr marL="351358">
              <a:spcBef>
                <a:spcPts val="147"/>
              </a:spcBef>
            </a:pPr>
            <a:r>
              <a:rPr sz="1600" spc="-87" dirty="0">
                <a:solidFill>
                  <a:srgbClr val="FFFFFF"/>
                </a:solidFill>
                <a:latin typeface="Trebuchet MS"/>
                <a:cs typeface="Trebuchet MS"/>
              </a:rPr>
              <a:t>can </a:t>
            </a:r>
            <a:r>
              <a:rPr sz="1600" spc="-67" dirty="0">
                <a:solidFill>
                  <a:srgbClr val="FFFFFF"/>
                </a:solidFill>
                <a:latin typeface="Trebuchet MS"/>
                <a:cs typeface="Trebuchet MS"/>
              </a:rPr>
              <a:t>be changed </a:t>
            </a:r>
            <a:r>
              <a:rPr sz="1600" spc="-53" dirty="0">
                <a:solidFill>
                  <a:srgbClr val="FFFFFF"/>
                </a:solidFill>
                <a:latin typeface="Trebuchet MS"/>
                <a:cs typeface="Trebuchet MS"/>
              </a:rPr>
              <a:t>as</a:t>
            </a:r>
            <a:r>
              <a:rPr sz="1600" spc="-287" dirty="0">
                <a:solidFill>
                  <a:srgbClr val="FFFFFF"/>
                </a:solidFill>
                <a:latin typeface="Trebuchet MS"/>
                <a:cs typeface="Trebuchet MS"/>
              </a:rPr>
              <a:t> </a:t>
            </a:r>
            <a:r>
              <a:rPr sz="1600" spc="-87" dirty="0">
                <a:solidFill>
                  <a:srgbClr val="FFFFFF"/>
                </a:solidFill>
                <a:latin typeface="Trebuchet MS"/>
                <a:cs typeface="Trebuchet MS"/>
              </a:rPr>
              <a:t>required.</a:t>
            </a:r>
            <a:endParaRPr sz="1600" dirty="0">
              <a:latin typeface="Trebuchet MS"/>
              <a:cs typeface="Trebuchet MS"/>
            </a:endParaRPr>
          </a:p>
        </p:txBody>
      </p:sp>
    </p:spTree>
    <p:extLst>
      <p:ext uri="{BB962C8B-B14F-4D97-AF65-F5344CB8AC3E}">
        <p14:creationId xmlns:p14="http://schemas.microsoft.com/office/powerpoint/2010/main" val="145303194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089891" y="307001"/>
            <a:ext cx="7270671" cy="479618"/>
          </a:xfrm>
          <a:prstGeom prst="rect">
            <a:avLst/>
          </a:prstGeom>
        </p:spPr>
        <p:txBody>
          <a:bodyPr vert="horz" wrap="square" lIns="0" tIns="17780" rIns="0" bIns="0" numCol="1" rtlCol="0" anchor="t" anchorCtr="0" compatLnSpc="1">
            <a:prstTxWarp prst="textNoShape">
              <a:avLst/>
            </a:prstTxWarp>
            <a:spAutoFit/>
          </a:bodyPr>
          <a:lstStyle/>
          <a:p>
            <a:pPr marL="16933">
              <a:spcBef>
                <a:spcPts val="140"/>
              </a:spcBef>
            </a:pPr>
            <a:r>
              <a:rPr dirty="0"/>
              <a:t>Understanding Environment</a:t>
            </a:r>
            <a:r>
              <a:rPr spc="-127" dirty="0"/>
              <a:t> </a:t>
            </a:r>
            <a:r>
              <a:rPr spc="-20" dirty="0"/>
              <a:t>Variables</a:t>
            </a:r>
          </a:p>
        </p:txBody>
      </p:sp>
      <p:sp>
        <p:nvSpPr>
          <p:cNvPr id="3" name="object 3"/>
          <p:cNvSpPr txBox="1"/>
          <p:nvPr/>
        </p:nvSpPr>
        <p:spPr>
          <a:xfrm>
            <a:off x="284209" y="953516"/>
            <a:ext cx="11573087" cy="5322098"/>
          </a:xfrm>
          <a:prstGeom prst="rect">
            <a:avLst/>
          </a:prstGeom>
        </p:spPr>
        <p:txBody>
          <a:bodyPr vert="horz" wrap="square" lIns="0" tIns="17780" rIns="0" bIns="0" rtlCol="0">
            <a:spAutoFit/>
          </a:bodyPr>
          <a:lstStyle/>
          <a:p>
            <a:pPr marL="325112" indent="-308179">
              <a:spcBef>
                <a:spcPts val="140"/>
              </a:spcBef>
              <a:buClr>
                <a:srgbClr val="00AFEF"/>
              </a:buClr>
              <a:buFont typeface="Wingdings"/>
              <a:buChar char=""/>
              <a:tabLst>
                <a:tab pos="325959" algn="l"/>
              </a:tabLst>
            </a:pPr>
            <a:r>
              <a:rPr sz="2667" spc="-47" dirty="0">
                <a:solidFill>
                  <a:srgbClr val="4D4E5C"/>
                </a:solidFill>
                <a:latin typeface="Arial"/>
                <a:cs typeface="Arial"/>
              </a:rPr>
              <a:t>JAVA_HOME </a:t>
            </a:r>
            <a:r>
              <a:rPr sz="2667" dirty="0">
                <a:solidFill>
                  <a:srgbClr val="4D4E5C"/>
                </a:solidFill>
                <a:latin typeface="Arial"/>
                <a:cs typeface="Arial"/>
              </a:rPr>
              <a:t>stores the path of the directory in which </a:t>
            </a:r>
            <a:r>
              <a:rPr sz="2667" spc="7" dirty="0">
                <a:solidFill>
                  <a:srgbClr val="4D4E5C"/>
                </a:solidFill>
                <a:latin typeface="Arial"/>
                <a:cs typeface="Arial"/>
              </a:rPr>
              <a:t>JDK </a:t>
            </a:r>
            <a:r>
              <a:rPr sz="2667" dirty="0">
                <a:solidFill>
                  <a:srgbClr val="4D4E5C"/>
                </a:solidFill>
                <a:latin typeface="Arial"/>
                <a:cs typeface="Arial"/>
              </a:rPr>
              <a:t>can be</a:t>
            </a:r>
            <a:r>
              <a:rPr sz="2667" spc="-253" dirty="0">
                <a:solidFill>
                  <a:srgbClr val="4D4E5C"/>
                </a:solidFill>
                <a:latin typeface="Arial"/>
                <a:cs typeface="Arial"/>
              </a:rPr>
              <a:t> </a:t>
            </a:r>
            <a:r>
              <a:rPr sz="2667" dirty="0">
                <a:solidFill>
                  <a:srgbClr val="4D4E5C"/>
                </a:solidFill>
                <a:latin typeface="Arial"/>
                <a:cs typeface="Arial"/>
              </a:rPr>
              <a:t>found.</a:t>
            </a:r>
            <a:endParaRPr sz="2667">
              <a:latin typeface="Arial"/>
              <a:cs typeface="Arial"/>
            </a:endParaRPr>
          </a:p>
          <a:p>
            <a:pPr>
              <a:lnSpc>
                <a:spcPct val="100000"/>
              </a:lnSpc>
              <a:buClr>
                <a:srgbClr val="00AFEF"/>
              </a:buClr>
              <a:buFont typeface="Wingdings"/>
              <a:buChar char=""/>
            </a:pPr>
            <a:endParaRPr sz="3933">
              <a:latin typeface="Times New Roman"/>
              <a:cs typeface="Times New Roman"/>
            </a:endParaRPr>
          </a:p>
          <a:p>
            <a:pPr marL="325112" marR="397923" indent="-308179">
              <a:lnSpc>
                <a:spcPts val="2880"/>
              </a:lnSpc>
              <a:buClr>
                <a:srgbClr val="00AFEF"/>
              </a:buClr>
              <a:buFont typeface="Wingdings"/>
              <a:buChar char=""/>
              <a:tabLst>
                <a:tab pos="325959" algn="l"/>
              </a:tabLst>
            </a:pPr>
            <a:r>
              <a:rPr sz="2667" dirty="0">
                <a:solidFill>
                  <a:srgbClr val="4D4E5C"/>
                </a:solidFill>
                <a:latin typeface="Arial"/>
                <a:cs typeface="Arial"/>
              </a:rPr>
              <a:t>M2_HOME stores the path of top directory in which </a:t>
            </a:r>
            <a:r>
              <a:rPr sz="2667" spc="-47" dirty="0">
                <a:solidFill>
                  <a:srgbClr val="4D4E5C"/>
                </a:solidFill>
                <a:latin typeface="Arial"/>
                <a:cs typeface="Arial"/>
              </a:rPr>
              <a:t>MAVEN </a:t>
            </a:r>
            <a:r>
              <a:rPr sz="2667" dirty="0">
                <a:solidFill>
                  <a:srgbClr val="4D4E5C"/>
                </a:solidFill>
                <a:latin typeface="Arial"/>
                <a:cs typeface="Arial"/>
              </a:rPr>
              <a:t>is</a:t>
            </a:r>
            <a:r>
              <a:rPr sz="2667" spc="-200" dirty="0">
                <a:solidFill>
                  <a:srgbClr val="4D4E5C"/>
                </a:solidFill>
                <a:latin typeface="Arial"/>
                <a:cs typeface="Arial"/>
              </a:rPr>
              <a:t> </a:t>
            </a:r>
            <a:r>
              <a:rPr sz="2667" dirty="0">
                <a:solidFill>
                  <a:srgbClr val="4D4E5C"/>
                </a:solidFill>
                <a:latin typeface="Arial"/>
                <a:cs typeface="Arial"/>
              </a:rPr>
              <a:t>"installed"  (or</a:t>
            </a:r>
            <a:r>
              <a:rPr sz="2667" spc="-40" dirty="0">
                <a:solidFill>
                  <a:srgbClr val="4D4E5C"/>
                </a:solidFill>
                <a:latin typeface="Arial"/>
                <a:cs typeface="Arial"/>
              </a:rPr>
              <a:t> </a:t>
            </a:r>
            <a:r>
              <a:rPr sz="2667" dirty="0">
                <a:solidFill>
                  <a:srgbClr val="4D4E5C"/>
                </a:solidFill>
                <a:latin typeface="Arial"/>
                <a:cs typeface="Arial"/>
              </a:rPr>
              <a:t>unzipped).</a:t>
            </a:r>
            <a:endParaRPr sz="2667">
              <a:latin typeface="Arial"/>
              <a:cs typeface="Arial"/>
            </a:endParaRPr>
          </a:p>
          <a:p>
            <a:pPr>
              <a:spcBef>
                <a:spcPts val="33"/>
              </a:spcBef>
              <a:buClr>
                <a:srgbClr val="00AFEF"/>
              </a:buClr>
              <a:buFont typeface="Wingdings"/>
              <a:buChar char=""/>
            </a:pPr>
            <a:endParaRPr sz="3867">
              <a:latin typeface="Times New Roman"/>
              <a:cs typeface="Times New Roman"/>
            </a:endParaRPr>
          </a:p>
          <a:p>
            <a:pPr marL="325112" marR="6773" indent="-308179">
              <a:lnSpc>
                <a:spcPts val="2880"/>
              </a:lnSpc>
              <a:spcBef>
                <a:spcPts val="7"/>
              </a:spcBef>
              <a:buClr>
                <a:srgbClr val="00AFEF"/>
              </a:buClr>
              <a:buFont typeface="Wingdings"/>
              <a:buChar char=""/>
              <a:tabLst>
                <a:tab pos="325959" algn="l"/>
              </a:tabLst>
            </a:pPr>
            <a:r>
              <a:rPr sz="2667" dirty="0">
                <a:solidFill>
                  <a:srgbClr val="4D4E5C"/>
                </a:solidFill>
                <a:latin typeface="Arial"/>
                <a:cs typeface="Arial"/>
              </a:rPr>
              <a:t>The M2 directory indicates to maven application (mvn) regarding where</a:t>
            </a:r>
            <a:r>
              <a:rPr sz="2667" spc="-260" dirty="0">
                <a:solidFill>
                  <a:srgbClr val="4D4E5C"/>
                </a:solidFill>
                <a:latin typeface="Arial"/>
                <a:cs typeface="Arial"/>
              </a:rPr>
              <a:t> </a:t>
            </a:r>
            <a:r>
              <a:rPr sz="2667" dirty="0">
                <a:solidFill>
                  <a:srgbClr val="4D4E5C"/>
                </a:solidFill>
                <a:latin typeface="Arial"/>
                <a:cs typeface="Arial"/>
              </a:rPr>
              <a:t>the  required maven repositories are</a:t>
            </a:r>
            <a:r>
              <a:rPr sz="2667" spc="-173" dirty="0">
                <a:solidFill>
                  <a:srgbClr val="4D4E5C"/>
                </a:solidFill>
                <a:latin typeface="Arial"/>
                <a:cs typeface="Arial"/>
              </a:rPr>
              <a:t> </a:t>
            </a:r>
            <a:r>
              <a:rPr sz="2667" dirty="0">
                <a:solidFill>
                  <a:srgbClr val="4D4E5C"/>
                </a:solidFill>
                <a:latin typeface="Arial"/>
                <a:cs typeface="Arial"/>
              </a:rPr>
              <a:t>found</a:t>
            </a:r>
            <a:endParaRPr sz="2667">
              <a:latin typeface="Arial"/>
              <a:cs typeface="Arial"/>
            </a:endParaRPr>
          </a:p>
          <a:p>
            <a:pPr>
              <a:spcBef>
                <a:spcPts val="33"/>
              </a:spcBef>
              <a:buClr>
                <a:srgbClr val="00AFEF"/>
              </a:buClr>
              <a:buFont typeface="Wingdings"/>
              <a:buChar char=""/>
            </a:pPr>
            <a:endParaRPr sz="3867">
              <a:latin typeface="Times New Roman"/>
              <a:cs typeface="Times New Roman"/>
            </a:endParaRPr>
          </a:p>
          <a:p>
            <a:pPr marL="325112" marR="478355" indent="-308179">
              <a:lnSpc>
                <a:spcPts val="2880"/>
              </a:lnSpc>
              <a:buClr>
                <a:srgbClr val="00AFEF"/>
              </a:buClr>
              <a:buFont typeface="Wingdings"/>
              <a:buChar char=""/>
              <a:tabLst>
                <a:tab pos="325959" algn="l"/>
              </a:tabLst>
            </a:pPr>
            <a:r>
              <a:rPr sz="2667" spc="-20" dirty="0">
                <a:solidFill>
                  <a:srgbClr val="4D4E5C"/>
                </a:solidFill>
                <a:latin typeface="Arial"/>
                <a:cs typeface="Arial"/>
              </a:rPr>
              <a:t>MAVEN_OPTS </a:t>
            </a:r>
            <a:r>
              <a:rPr sz="2667" dirty="0">
                <a:solidFill>
                  <a:srgbClr val="4D4E5C"/>
                </a:solidFill>
                <a:latin typeface="Arial"/>
                <a:cs typeface="Arial"/>
              </a:rPr>
              <a:t>- Specify Java command line arguments which will be</a:t>
            </a:r>
            <a:r>
              <a:rPr sz="2667" spc="-193" dirty="0">
                <a:solidFill>
                  <a:srgbClr val="4D4E5C"/>
                </a:solidFill>
                <a:latin typeface="Arial"/>
                <a:cs typeface="Arial"/>
              </a:rPr>
              <a:t> </a:t>
            </a:r>
            <a:r>
              <a:rPr sz="2667" dirty="0">
                <a:solidFill>
                  <a:srgbClr val="4D4E5C"/>
                </a:solidFill>
                <a:latin typeface="Arial"/>
                <a:cs typeface="Arial"/>
              </a:rPr>
              <a:t>in  </a:t>
            </a:r>
            <a:r>
              <a:rPr sz="2667" spc="-13" dirty="0">
                <a:solidFill>
                  <a:srgbClr val="4D4E5C"/>
                </a:solidFill>
                <a:latin typeface="Arial"/>
                <a:cs typeface="Arial"/>
              </a:rPr>
              <a:t>effect </a:t>
            </a:r>
            <a:r>
              <a:rPr sz="2667" dirty="0">
                <a:solidFill>
                  <a:srgbClr val="4D4E5C"/>
                </a:solidFill>
                <a:latin typeface="Arial"/>
                <a:cs typeface="Arial"/>
              </a:rPr>
              <a:t>for the execution of Maven</a:t>
            </a:r>
            <a:r>
              <a:rPr sz="2667" spc="-180" dirty="0">
                <a:solidFill>
                  <a:srgbClr val="4D4E5C"/>
                </a:solidFill>
                <a:latin typeface="Arial"/>
                <a:cs typeface="Arial"/>
              </a:rPr>
              <a:t> </a:t>
            </a:r>
            <a:r>
              <a:rPr sz="2667" dirty="0">
                <a:solidFill>
                  <a:srgbClr val="4D4E5C"/>
                </a:solidFill>
                <a:latin typeface="Arial"/>
                <a:cs typeface="Arial"/>
              </a:rPr>
              <a:t>itself</a:t>
            </a:r>
            <a:endParaRPr sz="2667">
              <a:latin typeface="Arial"/>
              <a:cs typeface="Arial"/>
            </a:endParaRPr>
          </a:p>
          <a:p>
            <a:pPr marL="1008355" lvl="1" indent="-381837">
              <a:spcBef>
                <a:spcPts val="480"/>
              </a:spcBef>
              <a:buClr>
                <a:srgbClr val="00AFEF"/>
              </a:buClr>
              <a:buFont typeface="Wingdings"/>
              <a:buChar char=""/>
              <a:tabLst>
                <a:tab pos="1008355" algn="l"/>
                <a:tab pos="1009201" algn="l"/>
              </a:tabLst>
            </a:pPr>
            <a:r>
              <a:rPr sz="2400" spc="-7" dirty="0">
                <a:solidFill>
                  <a:srgbClr val="4D4E5C"/>
                </a:solidFill>
                <a:latin typeface="Arial"/>
                <a:cs typeface="Arial"/>
              </a:rPr>
              <a:t>-Xms </a:t>
            </a:r>
            <a:r>
              <a:rPr sz="2400" dirty="0">
                <a:solidFill>
                  <a:srgbClr val="4D4E5C"/>
                </a:solidFill>
                <a:latin typeface="Arial"/>
                <a:cs typeface="Arial"/>
              </a:rPr>
              <a:t>– </a:t>
            </a:r>
            <a:r>
              <a:rPr sz="2400" spc="-7" dirty="0">
                <a:solidFill>
                  <a:srgbClr val="4D4E5C"/>
                </a:solidFill>
                <a:latin typeface="Arial"/>
                <a:cs typeface="Arial"/>
              </a:rPr>
              <a:t>initial </a:t>
            </a:r>
            <a:r>
              <a:rPr sz="2400" spc="-13" dirty="0">
                <a:solidFill>
                  <a:srgbClr val="4D4E5C"/>
                </a:solidFill>
                <a:latin typeface="Arial"/>
                <a:cs typeface="Arial"/>
              </a:rPr>
              <a:t>heap</a:t>
            </a:r>
            <a:r>
              <a:rPr sz="2400" spc="40" dirty="0">
                <a:solidFill>
                  <a:srgbClr val="4D4E5C"/>
                </a:solidFill>
                <a:latin typeface="Arial"/>
                <a:cs typeface="Arial"/>
              </a:rPr>
              <a:t> </a:t>
            </a:r>
            <a:r>
              <a:rPr sz="2400" spc="-7" dirty="0">
                <a:solidFill>
                  <a:srgbClr val="4D4E5C"/>
                </a:solidFill>
                <a:latin typeface="Arial"/>
                <a:cs typeface="Arial"/>
              </a:rPr>
              <a:t>size</a:t>
            </a:r>
            <a:endParaRPr sz="2400">
              <a:latin typeface="Arial"/>
              <a:cs typeface="Arial"/>
            </a:endParaRPr>
          </a:p>
          <a:p>
            <a:pPr marL="1008355" lvl="1" indent="-381837">
              <a:spcBef>
                <a:spcPts val="513"/>
              </a:spcBef>
              <a:buClr>
                <a:srgbClr val="00AFEF"/>
              </a:buClr>
              <a:buFont typeface="Wingdings"/>
              <a:buChar char=""/>
              <a:tabLst>
                <a:tab pos="1008355" algn="l"/>
                <a:tab pos="1009201" algn="l"/>
              </a:tabLst>
            </a:pPr>
            <a:r>
              <a:rPr sz="2400" spc="-7" dirty="0">
                <a:solidFill>
                  <a:srgbClr val="4D4E5C"/>
                </a:solidFill>
                <a:latin typeface="Arial"/>
                <a:cs typeface="Arial"/>
              </a:rPr>
              <a:t>-Xmx </a:t>
            </a:r>
            <a:r>
              <a:rPr sz="2400" dirty="0">
                <a:solidFill>
                  <a:srgbClr val="4D4E5C"/>
                </a:solidFill>
                <a:latin typeface="Arial"/>
                <a:cs typeface="Arial"/>
              </a:rPr>
              <a:t>- </a:t>
            </a:r>
            <a:r>
              <a:rPr sz="2400" spc="-7" dirty="0">
                <a:solidFill>
                  <a:srgbClr val="4D4E5C"/>
                </a:solidFill>
                <a:latin typeface="Arial"/>
                <a:cs typeface="Arial"/>
              </a:rPr>
              <a:t>maximum heap</a:t>
            </a:r>
            <a:r>
              <a:rPr sz="2400" spc="60" dirty="0">
                <a:solidFill>
                  <a:srgbClr val="4D4E5C"/>
                </a:solidFill>
                <a:latin typeface="Arial"/>
                <a:cs typeface="Arial"/>
              </a:rPr>
              <a:t> </a:t>
            </a:r>
            <a:r>
              <a:rPr sz="2400" spc="-7" dirty="0">
                <a:solidFill>
                  <a:srgbClr val="4D4E5C"/>
                </a:solidFill>
                <a:latin typeface="Arial"/>
                <a:cs typeface="Arial"/>
              </a:rPr>
              <a:t>size</a:t>
            </a:r>
            <a:endParaRPr sz="2400">
              <a:latin typeface="Arial"/>
              <a:cs typeface="Arial"/>
            </a:endParaRPr>
          </a:p>
        </p:txBody>
      </p:sp>
    </p:spTree>
    <p:extLst>
      <p:ext uri="{BB962C8B-B14F-4D97-AF65-F5344CB8AC3E}">
        <p14:creationId xmlns:p14="http://schemas.microsoft.com/office/powerpoint/2010/main" val="178115955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flipH="1">
            <a:off x="1334921" y="307001"/>
            <a:ext cx="1472933" cy="479618"/>
          </a:xfrm>
          <a:prstGeom prst="rect">
            <a:avLst/>
          </a:prstGeom>
        </p:spPr>
        <p:txBody>
          <a:bodyPr vert="horz" wrap="square" lIns="0" tIns="17780" rIns="0" bIns="0" numCol="1" rtlCol="0" anchor="t" anchorCtr="0" compatLnSpc="1">
            <a:prstTxWarp prst="textNoShape">
              <a:avLst/>
            </a:prstTxWarp>
            <a:spAutoFit/>
          </a:bodyPr>
          <a:lstStyle/>
          <a:p>
            <a:pPr marL="16933">
              <a:spcBef>
                <a:spcPts val="140"/>
              </a:spcBef>
            </a:pPr>
            <a:r>
              <a:rPr dirty="0"/>
              <a:t>Quiz</a:t>
            </a:r>
          </a:p>
        </p:txBody>
      </p:sp>
      <p:sp>
        <p:nvSpPr>
          <p:cNvPr id="3" name="object 3"/>
          <p:cNvSpPr txBox="1"/>
          <p:nvPr/>
        </p:nvSpPr>
        <p:spPr>
          <a:xfrm>
            <a:off x="284209" y="892860"/>
            <a:ext cx="10619740" cy="4962555"/>
          </a:xfrm>
          <a:prstGeom prst="rect">
            <a:avLst/>
          </a:prstGeom>
        </p:spPr>
        <p:txBody>
          <a:bodyPr vert="horz" wrap="square" lIns="0" tIns="118533" rIns="0" bIns="0" rtlCol="0">
            <a:spAutoFit/>
          </a:bodyPr>
          <a:lstStyle/>
          <a:p>
            <a:pPr marL="474121" indent="-457189">
              <a:spcBef>
                <a:spcPts val="933"/>
              </a:spcBef>
              <a:buClr>
                <a:srgbClr val="00AFEF"/>
              </a:buClr>
              <a:buAutoNum type="arabicPeriod"/>
              <a:tabLst>
                <a:tab pos="473275" algn="l"/>
                <a:tab pos="474121" algn="l"/>
              </a:tabLst>
            </a:pPr>
            <a:r>
              <a:rPr sz="2667" dirty="0">
                <a:solidFill>
                  <a:srgbClr val="4D4E5C"/>
                </a:solidFill>
                <a:latin typeface="Arial"/>
                <a:cs typeface="Arial"/>
              </a:rPr>
              <a:t>Command to check if Maven is properly installed</a:t>
            </a:r>
            <a:r>
              <a:rPr sz="2667" spc="-233" dirty="0">
                <a:solidFill>
                  <a:srgbClr val="4D4E5C"/>
                </a:solidFill>
                <a:latin typeface="Arial"/>
                <a:cs typeface="Arial"/>
              </a:rPr>
              <a:t> </a:t>
            </a:r>
            <a:r>
              <a:rPr sz="2667" dirty="0">
                <a:solidFill>
                  <a:srgbClr val="4D4E5C"/>
                </a:solidFill>
                <a:latin typeface="Arial"/>
                <a:cs typeface="Arial"/>
              </a:rPr>
              <a:t>is</a:t>
            </a:r>
            <a:endParaRPr sz="2667" dirty="0">
              <a:latin typeface="Arial"/>
              <a:cs typeface="Arial"/>
            </a:endParaRPr>
          </a:p>
          <a:p>
            <a:pPr marL="503754" lvl="1" indent="-393690">
              <a:spcBef>
                <a:spcPts val="807"/>
              </a:spcBef>
              <a:buAutoNum type="alphaLcParenR"/>
              <a:tabLst>
                <a:tab pos="504601" algn="l"/>
              </a:tabLst>
            </a:pPr>
            <a:r>
              <a:rPr sz="2667" dirty="0">
                <a:solidFill>
                  <a:srgbClr val="4D4E5C"/>
                </a:solidFill>
                <a:latin typeface="Arial"/>
                <a:cs typeface="Arial"/>
              </a:rPr>
              <a:t>java</a:t>
            </a:r>
            <a:r>
              <a:rPr sz="2667" spc="-13" dirty="0">
                <a:solidFill>
                  <a:srgbClr val="4D4E5C"/>
                </a:solidFill>
                <a:latin typeface="Arial"/>
                <a:cs typeface="Arial"/>
              </a:rPr>
              <a:t> </a:t>
            </a:r>
            <a:r>
              <a:rPr sz="2667" dirty="0">
                <a:solidFill>
                  <a:srgbClr val="4D4E5C"/>
                </a:solidFill>
                <a:latin typeface="Arial"/>
                <a:cs typeface="Arial"/>
              </a:rPr>
              <a:t>–version</a:t>
            </a:r>
            <a:endParaRPr sz="2667" dirty="0">
              <a:latin typeface="Arial"/>
              <a:cs typeface="Arial"/>
            </a:endParaRPr>
          </a:p>
          <a:p>
            <a:pPr marL="474121" lvl="1" indent="-457189">
              <a:spcBef>
                <a:spcPts val="800"/>
              </a:spcBef>
              <a:buClr>
                <a:srgbClr val="00AFEF"/>
              </a:buClr>
              <a:buAutoNum type="alphaLcParenR"/>
              <a:tabLst>
                <a:tab pos="474121" algn="l"/>
              </a:tabLst>
            </a:pPr>
            <a:r>
              <a:rPr sz="2667" spc="-7" dirty="0">
                <a:solidFill>
                  <a:srgbClr val="4D4E5C"/>
                </a:solidFill>
                <a:latin typeface="Arial"/>
                <a:cs typeface="Arial"/>
              </a:rPr>
              <a:t>mvn</a:t>
            </a:r>
            <a:r>
              <a:rPr sz="2667" spc="-27" dirty="0">
                <a:solidFill>
                  <a:srgbClr val="4D4E5C"/>
                </a:solidFill>
                <a:latin typeface="Arial"/>
                <a:cs typeface="Arial"/>
              </a:rPr>
              <a:t> </a:t>
            </a:r>
            <a:r>
              <a:rPr sz="2667" dirty="0">
                <a:solidFill>
                  <a:srgbClr val="4D4E5C"/>
                </a:solidFill>
                <a:latin typeface="Arial"/>
                <a:cs typeface="Arial"/>
              </a:rPr>
              <a:t>–v</a:t>
            </a:r>
            <a:endParaRPr sz="2667" dirty="0">
              <a:latin typeface="Arial"/>
              <a:cs typeface="Arial"/>
            </a:endParaRPr>
          </a:p>
          <a:p>
            <a:pPr marL="474121" lvl="1" indent="-457189">
              <a:spcBef>
                <a:spcPts val="800"/>
              </a:spcBef>
              <a:buClr>
                <a:srgbClr val="00AFEF"/>
              </a:buClr>
              <a:buAutoNum type="alphaLcParenR"/>
              <a:tabLst>
                <a:tab pos="473275" algn="l"/>
                <a:tab pos="474121" algn="l"/>
              </a:tabLst>
            </a:pPr>
            <a:r>
              <a:rPr sz="2667" dirty="0">
                <a:solidFill>
                  <a:srgbClr val="4D4E5C"/>
                </a:solidFill>
                <a:latin typeface="Arial"/>
                <a:cs typeface="Arial"/>
              </a:rPr>
              <a:t>mvn –</a:t>
            </a:r>
            <a:r>
              <a:rPr sz="2667" spc="-40" dirty="0">
                <a:solidFill>
                  <a:srgbClr val="4D4E5C"/>
                </a:solidFill>
                <a:latin typeface="Arial"/>
                <a:cs typeface="Arial"/>
              </a:rPr>
              <a:t> </a:t>
            </a:r>
            <a:r>
              <a:rPr sz="2667" dirty="0">
                <a:solidFill>
                  <a:srgbClr val="4D4E5C"/>
                </a:solidFill>
                <a:latin typeface="Arial"/>
                <a:cs typeface="Arial"/>
              </a:rPr>
              <a:t>version</a:t>
            </a:r>
            <a:endParaRPr sz="2667" dirty="0">
              <a:latin typeface="Arial"/>
              <a:cs typeface="Arial"/>
            </a:endParaRPr>
          </a:p>
          <a:p>
            <a:pPr>
              <a:spcBef>
                <a:spcPts val="47"/>
              </a:spcBef>
            </a:pPr>
            <a:endParaRPr sz="4133" dirty="0">
              <a:latin typeface="Times New Roman"/>
              <a:cs typeface="Times New Roman"/>
            </a:endParaRPr>
          </a:p>
          <a:p>
            <a:pPr marL="16933"/>
            <a:r>
              <a:rPr sz="2667" dirty="0">
                <a:solidFill>
                  <a:srgbClr val="4D4E5C"/>
                </a:solidFill>
                <a:latin typeface="Arial"/>
                <a:cs typeface="Arial"/>
              </a:rPr>
              <a:t>2. Which of the following environment variable points to top directory</a:t>
            </a:r>
            <a:r>
              <a:rPr sz="2667" spc="-280" dirty="0">
                <a:solidFill>
                  <a:srgbClr val="4D4E5C"/>
                </a:solidFill>
                <a:latin typeface="Arial"/>
                <a:cs typeface="Arial"/>
              </a:rPr>
              <a:t> </a:t>
            </a:r>
            <a:r>
              <a:rPr sz="2667" dirty="0">
                <a:solidFill>
                  <a:srgbClr val="4D4E5C"/>
                </a:solidFill>
                <a:latin typeface="Arial"/>
                <a:cs typeface="Arial"/>
              </a:rPr>
              <a:t>in</a:t>
            </a:r>
            <a:endParaRPr sz="2667" dirty="0">
              <a:latin typeface="Arial"/>
              <a:cs typeface="Arial"/>
            </a:endParaRPr>
          </a:p>
          <a:p>
            <a:pPr marL="16933"/>
            <a:r>
              <a:rPr sz="2667" dirty="0">
                <a:solidFill>
                  <a:srgbClr val="4D4E5C"/>
                </a:solidFill>
                <a:latin typeface="Arial"/>
                <a:cs typeface="Arial"/>
              </a:rPr>
              <a:t>which maven is</a:t>
            </a:r>
            <a:r>
              <a:rPr sz="2667" spc="-73" dirty="0">
                <a:solidFill>
                  <a:srgbClr val="4D4E5C"/>
                </a:solidFill>
                <a:latin typeface="Arial"/>
                <a:cs typeface="Arial"/>
              </a:rPr>
              <a:t> </a:t>
            </a:r>
            <a:r>
              <a:rPr sz="2667" dirty="0">
                <a:solidFill>
                  <a:srgbClr val="4D4E5C"/>
                </a:solidFill>
                <a:latin typeface="Arial"/>
                <a:cs typeface="Arial"/>
              </a:rPr>
              <a:t>installed</a:t>
            </a:r>
            <a:r>
              <a:rPr sz="2667" dirty="0" smtClean="0">
                <a:solidFill>
                  <a:srgbClr val="4D4E5C"/>
                </a:solidFill>
                <a:latin typeface="Arial"/>
                <a:cs typeface="Arial"/>
              </a:rPr>
              <a:t>:</a:t>
            </a:r>
            <a:endParaRPr sz="4133" dirty="0">
              <a:latin typeface="Times New Roman"/>
              <a:cs typeface="Times New Roman"/>
            </a:endParaRPr>
          </a:p>
          <a:p>
            <a:pPr marL="474121" indent="-457189">
              <a:buClr>
                <a:srgbClr val="00AFEF"/>
              </a:buClr>
              <a:buAutoNum type="alphaLcParenR"/>
              <a:tabLst>
                <a:tab pos="474121" algn="l"/>
              </a:tabLst>
            </a:pPr>
            <a:r>
              <a:rPr sz="2667" spc="-47" dirty="0">
                <a:solidFill>
                  <a:srgbClr val="4D4E5C"/>
                </a:solidFill>
                <a:latin typeface="Arial"/>
                <a:cs typeface="Arial"/>
              </a:rPr>
              <a:t>JAVA_HOME</a:t>
            </a:r>
            <a:endParaRPr sz="2667" dirty="0">
              <a:latin typeface="Arial"/>
              <a:cs typeface="Arial"/>
            </a:endParaRPr>
          </a:p>
          <a:p>
            <a:pPr marL="474121" indent="-457189">
              <a:spcBef>
                <a:spcPts val="800"/>
              </a:spcBef>
              <a:buClr>
                <a:srgbClr val="00AFEF"/>
              </a:buClr>
              <a:buAutoNum type="alphaLcParenR"/>
              <a:tabLst>
                <a:tab pos="474121" algn="l"/>
              </a:tabLst>
            </a:pPr>
            <a:r>
              <a:rPr sz="2667" spc="-20" dirty="0">
                <a:solidFill>
                  <a:srgbClr val="4D4E5C"/>
                </a:solidFill>
                <a:latin typeface="Arial"/>
                <a:cs typeface="Arial"/>
              </a:rPr>
              <a:t>MAVEN_HOME</a:t>
            </a:r>
            <a:endParaRPr sz="2667" dirty="0">
              <a:latin typeface="Arial"/>
              <a:cs typeface="Arial"/>
            </a:endParaRPr>
          </a:p>
          <a:p>
            <a:pPr marL="474121" indent="-457189">
              <a:spcBef>
                <a:spcPts val="800"/>
              </a:spcBef>
              <a:buClr>
                <a:srgbClr val="00AFEF"/>
              </a:buClr>
              <a:buAutoNum type="alphaLcParenR"/>
              <a:tabLst>
                <a:tab pos="473275" algn="l"/>
                <a:tab pos="474121" algn="l"/>
              </a:tabLst>
            </a:pPr>
            <a:r>
              <a:rPr sz="2667" dirty="0">
                <a:solidFill>
                  <a:srgbClr val="4D4E5C"/>
                </a:solidFill>
                <a:latin typeface="Arial"/>
                <a:cs typeface="Arial"/>
              </a:rPr>
              <a:t>M2_HOME</a:t>
            </a:r>
            <a:endParaRPr sz="2667" dirty="0">
              <a:latin typeface="Arial"/>
              <a:cs typeface="Arial"/>
            </a:endParaRPr>
          </a:p>
        </p:txBody>
      </p:sp>
    </p:spTree>
    <p:extLst>
      <p:ext uri="{BB962C8B-B14F-4D97-AF65-F5344CB8AC3E}">
        <p14:creationId xmlns:p14="http://schemas.microsoft.com/office/powerpoint/2010/main" val="345580405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988291" y="307001"/>
            <a:ext cx="1976582" cy="479618"/>
          </a:xfrm>
          <a:prstGeom prst="rect">
            <a:avLst/>
          </a:prstGeom>
        </p:spPr>
        <p:txBody>
          <a:bodyPr vert="horz" wrap="square" lIns="0" tIns="17780" rIns="0" bIns="0" numCol="1" rtlCol="0" anchor="t" anchorCtr="0" compatLnSpc="1">
            <a:prstTxWarp prst="textNoShape">
              <a:avLst/>
            </a:prstTxWarp>
            <a:spAutoFit/>
          </a:bodyPr>
          <a:lstStyle/>
          <a:p>
            <a:pPr marL="16933">
              <a:spcBef>
                <a:spcPts val="140"/>
              </a:spcBef>
            </a:pPr>
            <a:r>
              <a:rPr dirty="0"/>
              <a:t>Quiz</a:t>
            </a:r>
          </a:p>
        </p:txBody>
      </p:sp>
      <p:sp>
        <p:nvSpPr>
          <p:cNvPr id="3" name="object 3"/>
          <p:cNvSpPr txBox="1"/>
          <p:nvPr/>
        </p:nvSpPr>
        <p:spPr>
          <a:xfrm>
            <a:off x="284208" y="994155"/>
            <a:ext cx="1935480" cy="2500877"/>
          </a:xfrm>
          <a:prstGeom prst="rect">
            <a:avLst/>
          </a:prstGeom>
        </p:spPr>
        <p:txBody>
          <a:bodyPr vert="horz" wrap="square" lIns="0" tIns="17780" rIns="0" bIns="0" rtlCol="0">
            <a:spAutoFit/>
          </a:bodyPr>
          <a:lstStyle/>
          <a:p>
            <a:pPr marL="409776" indent="-392844">
              <a:spcBef>
                <a:spcPts val="140"/>
              </a:spcBef>
              <a:buAutoNum type="arabicParenR" startAt="3"/>
              <a:tabLst>
                <a:tab pos="410623" algn="l"/>
              </a:tabLst>
            </a:pPr>
            <a:r>
              <a:rPr sz="2667" dirty="0">
                <a:solidFill>
                  <a:srgbClr val="4D4E5C"/>
                </a:solidFill>
                <a:latin typeface="Arial"/>
                <a:cs typeface="Arial"/>
              </a:rPr>
              <a:t>POM is</a:t>
            </a:r>
            <a:r>
              <a:rPr sz="2667" spc="-120" dirty="0">
                <a:solidFill>
                  <a:srgbClr val="4D4E5C"/>
                </a:solidFill>
                <a:latin typeface="Arial"/>
                <a:cs typeface="Arial"/>
              </a:rPr>
              <a:t> </a:t>
            </a:r>
            <a:r>
              <a:rPr sz="2667" dirty="0">
                <a:solidFill>
                  <a:srgbClr val="4D4E5C"/>
                </a:solidFill>
                <a:latin typeface="Arial"/>
                <a:cs typeface="Arial"/>
              </a:rPr>
              <a:t>a</a:t>
            </a:r>
            <a:endParaRPr sz="2667" dirty="0">
              <a:latin typeface="Arial"/>
              <a:cs typeface="Arial"/>
            </a:endParaRPr>
          </a:p>
          <a:p>
            <a:pPr>
              <a:spcBef>
                <a:spcPts val="47"/>
              </a:spcBef>
              <a:buClr>
                <a:srgbClr val="4D4E5C"/>
              </a:buClr>
              <a:buFont typeface="Arial"/>
              <a:buAutoNum type="arabicParenR" startAt="3"/>
            </a:pPr>
            <a:endParaRPr sz="4133" dirty="0">
              <a:latin typeface="Times New Roman"/>
              <a:cs typeface="Times New Roman"/>
            </a:endParaRPr>
          </a:p>
          <a:p>
            <a:pPr marL="474121" lvl="1" indent="-457189">
              <a:buClr>
                <a:srgbClr val="00AFEF"/>
              </a:buClr>
              <a:buAutoNum type="alphaLcParenR"/>
              <a:tabLst>
                <a:tab pos="474121" algn="l"/>
              </a:tabLst>
            </a:pPr>
            <a:r>
              <a:rPr sz="2667" dirty="0">
                <a:solidFill>
                  <a:srgbClr val="4D4E5C"/>
                </a:solidFill>
                <a:latin typeface="Arial"/>
                <a:cs typeface="Arial"/>
              </a:rPr>
              <a:t>XML</a:t>
            </a:r>
            <a:r>
              <a:rPr sz="2667" spc="-152" dirty="0">
                <a:solidFill>
                  <a:srgbClr val="4D4E5C"/>
                </a:solidFill>
                <a:latin typeface="Arial"/>
                <a:cs typeface="Arial"/>
              </a:rPr>
              <a:t> </a:t>
            </a:r>
            <a:r>
              <a:rPr sz="2667" spc="-7" dirty="0">
                <a:solidFill>
                  <a:srgbClr val="4D4E5C"/>
                </a:solidFill>
                <a:latin typeface="Arial"/>
                <a:cs typeface="Arial"/>
              </a:rPr>
              <a:t>file</a:t>
            </a:r>
            <a:endParaRPr sz="2667" dirty="0">
              <a:latin typeface="Arial"/>
              <a:cs typeface="Arial"/>
            </a:endParaRPr>
          </a:p>
          <a:p>
            <a:pPr marL="474121" lvl="1" indent="-457189">
              <a:spcBef>
                <a:spcPts val="800"/>
              </a:spcBef>
              <a:buClr>
                <a:srgbClr val="00AFEF"/>
              </a:buClr>
              <a:buAutoNum type="alphaLcParenR"/>
              <a:tabLst>
                <a:tab pos="474121" algn="l"/>
              </a:tabLst>
            </a:pPr>
            <a:r>
              <a:rPr sz="2667" spc="-7" dirty="0">
                <a:solidFill>
                  <a:srgbClr val="4D4E5C"/>
                </a:solidFill>
                <a:latin typeface="Arial"/>
                <a:cs typeface="Arial"/>
              </a:rPr>
              <a:t>Word</a:t>
            </a:r>
            <a:r>
              <a:rPr sz="2667" spc="-140" dirty="0">
                <a:solidFill>
                  <a:srgbClr val="4D4E5C"/>
                </a:solidFill>
                <a:latin typeface="Arial"/>
                <a:cs typeface="Arial"/>
              </a:rPr>
              <a:t> </a:t>
            </a:r>
            <a:r>
              <a:rPr sz="2667" dirty="0">
                <a:solidFill>
                  <a:srgbClr val="4D4E5C"/>
                </a:solidFill>
                <a:latin typeface="Arial"/>
                <a:cs typeface="Arial"/>
              </a:rPr>
              <a:t>doc</a:t>
            </a:r>
            <a:endParaRPr sz="2667" dirty="0">
              <a:latin typeface="Arial"/>
              <a:cs typeface="Arial"/>
            </a:endParaRPr>
          </a:p>
          <a:p>
            <a:pPr marL="474121" lvl="1" indent="-457189">
              <a:spcBef>
                <a:spcPts val="807"/>
              </a:spcBef>
              <a:buClr>
                <a:srgbClr val="00AFEF"/>
              </a:buClr>
              <a:buAutoNum type="alphaLcParenR"/>
              <a:tabLst>
                <a:tab pos="473275" algn="l"/>
                <a:tab pos="474121" algn="l"/>
              </a:tabLst>
            </a:pPr>
            <a:r>
              <a:rPr sz="2667" dirty="0">
                <a:solidFill>
                  <a:srgbClr val="4D4E5C"/>
                </a:solidFill>
                <a:latin typeface="Arial"/>
                <a:cs typeface="Arial"/>
              </a:rPr>
              <a:t>Excel</a:t>
            </a:r>
            <a:r>
              <a:rPr sz="2667" spc="-60" dirty="0">
                <a:solidFill>
                  <a:srgbClr val="4D4E5C"/>
                </a:solidFill>
                <a:latin typeface="Arial"/>
                <a:cs typeface="Arial"/>
              </a:rPr>
              <a:t> </a:t>
            </a:r>
            <a:r>
              <a:rPr sz="2667" spc="-7" dirty="0">
                <a:solidFill>
                  <a:srgbClr val="4D4E5C"/>
                </a:solidFill>
                <a:latin typeface="Arial"/>
                <a:cs typeface="Arial"/>
              </a:rPr>
              <a:t>file</a:t>
            </a:r>
            <a:endParaRPr sz="2667" dirty="0">
              <a:latin typeface="Arial"/>
              <a:cs typeface="Arial"/>
            </a:endParaRPr>
          </a:p>
        </p:txBody>
      </p:sp>
    </p:spTree>
    <p:extLst>
      <p:ext uri="{BB962C8B-B14F-4D97-AF65-F5344CB8AC3E}">
        <p14:creationId xmlns:p14="http://schemas.microsoft.com/office/powerpoint/2010/main" val="414364084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object 10"/>
          <p:cNvSpPr txBox="1"/>
          <p:nvPr/>
        </p:nvSpPr>
        <p:spPr>
          <a:xfrm>
            <a:off x="10040209" y="2049283"/>
            <a:ext cx="1424093" cy="755762"/>
          </a:xfrm>
          <a:prstGeom prst="rect">
            <a:avLst/>
          </a:prstGeom>
        </p:spPr>
        <p:txBody>
          <a:bodyPr vert="horz" wrap="square" lIns="0" tIns="16933" rIns="0" bIns="0" rtlCol="0">
            <a:spAutoFit/>
          </a:bodyPr>
          <a:lstStyle/>
          <a:p>
            <a:pPr marL="16933">
              <a:spcBef>
                <a:spcPts val="133"/>
              </a:spcBef>
            </a:pPr>
            <a:r>
              <a:rPr sz="4800" b="1" u="heavy" dirty="0">
                <a:solidFill>
                  <a:srgbClr val="0D356F"/>
                </a:solidFill>
                <a:uFill>
                  <a:solidFill>
                    <a:srgbClr val="0D356F"/>
                  </a:solidFill>
                </a:uFill>
                <a:latin typeface="Arial"/>
                <a:cs typeface="Arial"/>
              </a:rPr>
              <a:t>POM</a:t>
            </a:r>
            <a:endParaRPr sz="4800" dirty="0">
              <a:latin typeface="Arial"/>
              <a:cs typeface="Arial"/>
            </a:endParaRPr>
          </a:p>
        </p:txBody>
      </p:sp>
    </p:spTree>
    <p:extLst>
      <p:ext uri="{BB962C8B-B14F-4D97-AF65-F5344CB8AC3E}">
        <p14:creationId xmlns:p14="http://schemas.microsoft.com/office/powerpoint/2010/main" val="70575638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219200" y="307001"/>
            <a:ext cx="2382982" cy="479618"/>
          </a:xfrm>
          <a:prstGeom prst="rect">
            <a:avLst/>
          </a:prstGeom>
        </p:spPr>
        <p:txBody>
          <a:bodyPr vert="horz" wrap="square" lIns="0" tIns="17780" rIns="0" bIns="0" numCol="1" rtlCol="0" anchor="t" anchorCtr="0" compatLnSpc="1">
            <a:prstTxWarp prst="textNoShape">
              <a:avLst/>
            </a:prstTxWarp>
            <a:spAutoFit/>
          </a:bodyPr>
          <a:lstStyle/>
          <a:p>
            <a:pPr marL="16933">
              <a:spcBef>
                <a:spcPts val="140"/>
              </a:spcBef>
            </a:pPr>
            <a:r>
              <a:rPr dirty="0"/>
              <a:t>Obje</a:t>
            </a:r>
            <a:r>
              <a:rPr spc="7" dirty="0"/>
              <a:t>c</a:t>
            </a:r>
            <a:r>
              <a:rPr dirty="0"/>
              <a:t>tives</a:t>
            </a:r>
          </a:p>
        </p:txBody>
      </p:sp>
      <p:sp>
        <p:nvSpPr>
          <p:cNvPr id="3" name="object 3"/>
          <p:cNvSpPr txBox="1"/>
          <p:nvPr/>
        </p:nvSpPr>
        <p:spPr>
          <a:xfrm>
            <a:off x="284208" y="994155"/>
            <a:ext cx="6973147" cy="3013902"/>
          </a:xfrm>
          <a:prstGeom prst="rect">
            <a:avLst/>
          </a:prstGeom>
        </p:spPr>
        <p:txBody>
          <a:bodyPr vert="horz" wrap="square" lIns="0" tIns="17780" rIns="0" bIns="0" rtlCol="0">
            <a:spAutoFit/>
          </a:bodyPr>
          <a:lstStyle/>
          <a:p>
            <a:pPr marL="16933">
              <a:spcBef>
                <a:spcPts val="140"/>
              </a:spcBef>
            </a:pPr>
            <a:r>
              <a:rPr sz="2667" dirty="0">
                <a:solidFill>
                  <a:srgbClr val="4D4E5C"/>
                </a:solidFill>
                <a:latin typeface="Arial"/>
                <a:cs typeface="Arial"/>
              </a:rPr>
              <a:t>At </a:t>
            </a:r>
            <a:r>
              <a:rPr sz="2667" spc="-7" dirty="0">
                <a:solidFill>
                  <a:srgbClr val="4D4E5C"/>
                </a:solidFill>
                <a:latin typeface="Arial"/>
                <a:cs typeface="Arial"/>
              </a:rPr>
              <a:t>the </a:t>
            </a:r>
            <a:r>
              <a:rPr sz="2667" dirty="0">
                <a:solidFill>
                  <a:srgbClr val="4D4E5C"/>
                </a:solidFill>
                <a:latin typeface="Arial"/>
                <a:cs typeface="Arial"/>
              </a:rPr>
              <a:t>end of this module you would be able</a:t>
            </a:r>
            <a:r>
              <a:rPr sz="2667" spc="-207" dirty="0">
                <a:solidFill>
                  <a:srgbClr val="4D4E5C"/>
                </a:solidFill>
                <a:latin typeface="Arial"/>
                <a:cs typeface="Arial"/>
              </a:rPr>
              <a:t> </a:t>
            </a:r>
            <a:r>
              <a:rPr sz="2667" dirty="0">
                <a:solidFill>
                  <a:srgbClr val="4D4E5C"/>
                </a:solidFill>
                <a:latin typeface="Arial"/>
                <a:cs typeface="Arial"/>
              </a:rPr>
              <a:t>to</a:t>
            </a:r>
            <a:endParaRPr sz="2667">
              <a:latin typeface="Arial"/>
              <a:cs typeface="Arial"/>
            </a:endParaRPr>
          </a:p>
          <a:p>
            <a:pPr>
              <a:spcBef>
                <a:spcPts val="47"/>
              </a:spcBef>
            </a:pPr>
            <a:endParaRPr sz="4133">
              <a:latin typeface="Times New Roman"/>
              <a:cs typeface="Times New Roman"/>
            </a:endParaRPr>
          </a:p>
          <a:p>
            <a:pPr marL="325112" indent="-308179">
              <a:buClr>
                <a:srgbClr val="00AFEF"/>
              </a:buClr>
              <a:buFont typeface="Wingdings"/>
              <a:buChar char=""/>
              <a:tabLst>
                <a:tab pos="325959" algn="l"/>
              </a:tabLst>
            </a:pPr>
            <a:r>
              <a:rPr sz="2667" dirty="0">
                <a:solidFill>
                  <a:srgbClr val="4D4E5C"/>
                </a:solidFill>
                <a:latin typeface="Arial"/>
                <a:cs typeface="Arial"/>
              </a:rPr>
              <a:t>Recognize POM</a:t>
            </a:r>
            <a:r>
              <a:rPr sz="2667" spc="-93" dirty="0">
                <a:solidFill>
                  <a:srgbClr val="4D4E5C"/>
                </a:solidFill>
                <a:latin typeface="Arial"/>
                <a:cs typeface="Arial"/>
              </a:rPr>
              <a:t> </a:t>
            </a:r>
            <a:r>
              <a:rPr sz="2667" dirty="0">
                <a:solidFill>
                  <a:srgbClr val="4D4E5C"/>
                </a:solidFill>
                <a:latin typeface="Arial"/>
                <a:cs typeface="Arial"/>
              </a:rPr>
              <a:t>structure</a:t>
            </a:r>
            <a:endParaRPr sz="2667">
              <a:latin typeface="Arial"/>
              <a:cs typeface="Arial"/>
            </a:endParaRPr>
          </a:p>
          <a:p>
            <a:pPr marL="325112" indent="-308179">
              <a:spcBef>
                <a:spcPts val="800"/>
              </a:spcBef>
              <a:buClr>
                <a:srgbClr val="00AFEF"/>
              </a:buClr>
              <a:buFont typeface="Wingdings"/>
              <a:buChar char=""/>
              <a:tabLst>
                <a:tab pos="325959" algn="l"/>
              </a:tabLst>
            </a:pPr>
            <a:r>
              <a:rPr sz="2667" dirty="0">
                <a:solidFill>
                  <a:srgbClr val="4D4E5C"/>
                </a:solidFill>
                <a:latin typeface="Arial"/>
                <a:cs typeface="Arial"/>
              </a:rPr>
              <a:t>Describe mandatory fields of</a:t>
            </a:r>
            <a:r>
              <a:rPr sz="2667" spc="-160" dirty="0">
                <a:solidFill>
                  <a:srgbClr val="4D4E5C"/>
                </a:solidFill>
                <a:latin typeface="Arial"/>
                <a:cs typeface="Arial"/>
              </a:rPr>
              <a:t> </a:t>
            </a:r>
            <a:r>
              <a:rPr sz="2667" dirty="0">
                <a:solidFill>
                  <a:srgbClr val="4D4E5C"/>
                </a:solidFill>
                <a:latin typeface="Arial"/>
                <a:cs typeface="Arial"/>
              </a:rPr>
              <a:t>POM</a:t>
            </a:r>
            <a:endParaRPr sz="2667">
              <a:latin typeface="Arial"/>
              <a:cs typeface="Arial"/>
            </a:endParaRPr>
          </a:p>
          <a:p>
            <a:pPr marL="325112" indent="-308179">
              <a:spcBef>
                <a:spcPts val="807"/>
              </a:spcBef>
              <a:buClr>
                <a:srgbClr val="00AFEF"/>
              </a:buClr>
              <a:buFont typeface="Wingdings"/>
              <a:buChar char=""/>
              <a:tabLst>
                <a:tab pos="325959" algn="l"/>
              </a:tabLst>
            </a:pPr>
            <a:r>
              <a:rPr sz="2667" dirty="0">
                <a:solidFill>
                  <a:srgbClr val="4D4E5C"/>
                </a:solidFill>
                <a:latin typeface="Arial"/>
                <a:cs typeface="Arial"/>
              </a:rPr>
              <a:t>Create a Project</a:t>
            </a:r>
            <a:r>
              <a:rPr sz="2667" spc="-100" dirty="0">
                <a:solidFill>
                  <a:srgbClr val="4D4E5C"/>
                </a:solidFill>
                <a:latin typeface="Arial"/>
                <a:cs typeface="Arial"/>
              </a:rPr>
              <a:t> </a:t>
            </a:r>
            <a:r>
              <a:rPr sz="2667" dirty="0">
                <a:solidFill>
                  <a:srgbClr val="4D4E5C"/>
                </a:solidFill>
                <a:latin typeface="Arial"/>
                <a:cs typeface="Arial"/>
              </a:rPr>
              <a:t>Structure</a:t>
            </a:r>
            <a:endParaRPr sz="2667">
              <a:latin typeface="Arial"/>
              <a:cs typeface="Arial"/>
            </a:endParaRPr>
          </a:p>
          <a:p>
            <a:pPr marL="325112" indent="-308179">
              <a:spcBef>
                <a:spcPts val="800"/>
              </a:spcBef>
              <a:buClr>
                <a:srgbClr val="00AFEF"/>
              </a:buClr>
              <a:buFont typeface="Wingdings"/>
              <a:buChar char=""/>
              <a:tabLst>
                <a:tab pos="325959" algn="l"/>
              </a:tabLst>
            </a:pPr>
            <a:r>
              <a:rPr sz="2667" dirty="0">
                <a:solidFill>
                  <a:srgbClr val="4D4E5C"/>
                </a:solidFill>
                <a:latin typeface="Arial"/>
                <a:cs typeface="Arial"/>
              </a:rPr>
              <a:t>Understand the hierarchy of the</a:t>
            </a:r>
            <a:r>
              <a:rPr sz="2667" spc="-200" dirty="0">
                <a:solidFill>
                  <a:srgbClr val="4D4E5C"/>
                </a:solidFill>
                <a:latin typeface="Arial"/>
                <a:cs typeface="Arial"/>
              </a:rPr>
              <a:t> </a:t>
            </a:r>
            <a:r>
              <a:rPr sz="2667" dirty="0">
                <a:solidFill>
                  <a:srgbClr val="4D4E5C"/>
                </a:solidFill>
                <a:latin typeface="Arial"/>
                <a:cs typeface="Arial"/>
              </a:rPr>
              <a:t>folders</a:t>
            </a:r>
            <a:endParaRPr sz="2667">
              <a:latin typeface="Arial"/>
              <a:cs typeface="Arial"/>
            </a:endParaRPr>
          </a:p>
        </p:txBody>
      </p:sp>
    </p:spTree>
    <p:extLst>
      <p:ext uri="{BB962C8B-B14F-4D97-AF65-F5344CB8AC3E}">
        <p14:creationId xmlns:p14="http://schemas.microsoft.com/office/powerpoint/2010/main" val="176908311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366981" y="358218"/>
            <a:ext cx="2124363" cy="479618"/>
          </a:xfrm>
          <a:prstGeom prst="rect">
            <a:avLst/>
          </a:prstGeom>
        </p:spPr>
        <p:txBody>
          <a:bodyPr vert="horz" wrap="square" lIns="0" tIns="17780" rIns="0" bIns="0" numCol="1" rtlCol="0" anchor="t" anchorCtr="0" compatLnSpc="1">
            <a:prstTxWarp prst="textNoShape">
              <a:avLst/>
            </a:prstTxWarp>
            <a:spAutoFit/>
          </a:bodyPr>
          <a:lstStyle/>
          <a:p>
            <a:pPr marL="16933">
              <a:spcBef>
                <a:spcPts val="140"/>
              </a:spcBef>
            </a:pPr>
            <a:r>
              <a:rPr dirty="0"/>
              <a:t>Maven</a:t>
            </a:r>
            <a:r>
              <a:rPr spc="-113" dirty="0"/>
              <a:t> </a:t>
            </a:r>
            <a:r>
              <a:rPr dirty="0"/>
              <a:t>POM</a:t>
            </a:r>
          </a:p>
        </p:txBody>
      </p:sp>
      <p:sp>
        <p:nvSpPr>
          <p:cNvPr id="3" name="object 3"/>
          <p:cNvSpPr txBox="1"/>
          <p:nvPr/>
        </p:nvSpPr>
        <p:spPr>
          <a:xfrm>
            <a:off x="444330" y="1065998"/>
            <a:ext cx="9019540" cy="5304743"/>
          </a:xfrm>
          <a:prstGeom prst="rect">
            <a:avLst/>
          </a:prstGeom>
        </p:spPr>
        <p:txBody>
          <a:bodyPr vert="horz" wrap="square" lIns="0" tIns="92287" rIns="0" bIns="0" rtlCol="0">
            <a:spAutoFit/>
          </a:bodyPr>
          <a:lstStyle/>
          <a:p>
            <a:pPr marL="325112" indent="-308179">
              <a:spcBef>
                <a:spcPts val="727"/>
              </a:spcBef>
              <a:buClr>
                <a:srgbClr val="00AFEF"/>
              </a:buClr>
              <a:buFont typeface="Wingdings"/>
              <a:buChar char=""/>
              <a:tabLst>
                <a:tab pos="325959" algn="l"/>
              </a:tabLst>
            </a:pPr>
            <a:r>
              <a:rPr sz="2533" b="1" spc="-7" dirty="0">
                <a:solidFill>
                  <a:srgbClr val="FF0000"/>
                </a:solidFill>
                <a:latin typeface="Arial"/>
                <a:cs typeface="Arial"/>
              </a:rPr>
              <a:t>P</a:t>
            </a:r>
            <a:r>
              <a:rPr sz="2533" spc="-7" dirty="0">
                <a:solidFill>
                  <a:srgbClr val="4D4E5C"/>
                </a:solidFill>
                <a:latin typeface="Arial"/>
                <a:cs typeface="Arial"/>
              </a:rPr>
              <a:t>roject </a:t>
            </a:r>
            <a:r>
              <a:rPr sz="2533" b="1" spc="-7" dirty="0">
                <a:solidFill>
                  <a:srgbClr val="FF0000"/>
                </a:solidFill>
                <a:latin typeface="Arial"/>
                <a:cs typeface="Arial"/>
              </a:rPr>
              <a:t>O</a:t>
            </a:r>
            <a:r>
              <a:rPr sz="2533" spc="-7" dirty="0">
                <a:solidFill>
                  <a:srgbClr val="4D4E5C"/>
                </a:solidFill>
                <a:latin typeface="Arial"/>
                <a:cs typeface="Arial"/>
              </a:rPr>
              <a:t>bject </a:t>
            </a:r>
            <a:r>
              <a:rPr sz="2533" b="1" spc="-7" dirty="0">
                <a:solidFill>
                  <a:srgbClr val="FF0000"/>
                </a:solidFill>
                <a:latin typeface="Arial"/>
                <a:cs typeface="Arial"/>
              </a:rPr>
              <a:t>M</a:t>
            </a:r>
            <a:r>
              <a:rPr sz="2533" spc="-7" dirty="0">
                <a:solidFill>
                  <a:srgbClr val="4D4E5C"/>
                </a:solidFill>
                <a:latin typeface="Arial"/>
                <a:cs typeface="Arial"/>
              </a:rPr>
              <a:t>odel</a:t>
            </a:r>
            <a:r>
              <a:rPr sz="2533" spc="73" dirty="0">
                <a:solidFill>
                  <a:srgbClr val="4D4E5C"/>
                </a:solidFill>
                <a:latin typeface="Arial"/>
                <a:cs typeface="Arial"/>
              </a:rPr>
              <a:t> </a:t>
            </a:r>
            <a:r>
              <a:rPr sz="2533" spc="-7" dirty="0">
                <a:solidFill>
                  <a:srgbClr val="4D4E5C"/>
                </a:solidFill>
                <a:latin typeface="Arial"/>
                <a:cs typeface="Arial"/>
              </a:rPr>
              <a:t>(POM)</a:t>
            </a:r>
            <a:endParaRPr sz="2533">
              <a:latin typeface="Arial"/>
              <a:cs typeface="Arial"/>
            </a:endParaRPr>
          </a:p>
          <a:p>
            <a:pPr marL="1008355" lvl="1" indent="-381837">
              <a:spcBef>
                <a:spcPts val="545"/>
              </a:spcBef>
              <a:buClr>
                <a:srgbClr val="00AFEF"/>
              </a:buClr>
              <a:buFont typeface="Wingdings"/>
              <a:buChar char=""/>
              <a:tabLst>
                <a:tab pos="1008355" algn="l"/>
                <a:tab pos="1009201" algn="l"/>
              </a:tabLst>
            </a:pPr>
            <a:r>
              <a:rPr sz="2267" spc="-7" dirty="0">
                <a:solidFill>
                  <a:srgbClr val="4D4E5C"/>
                </a:solidFill>
                <a:latin typeface="Arial"/>
                <a:cs typeface="Arial"/>
              </a:rPr>
              <a:t>pom.xml </a:t>
            </a:r>
            <a:r>
              <a:rPr sz="2267" dirty="0">
                <a:solidFill>
                  <a:srgbClr val="4D4E5C"/>
                </a:solidFill>
                <a:latin typeface="Arial"/>
                <a:cs typeface="Arial"/>
              </a:rPr>
              <a:t>describes a project in </a:t>
            </a:r>
            <a:r>
              <a:rPr sz="2267" spc="-7" dirty="0">
                <a:solidFill>
                  <a:srgbClr val="4D4E5C"/>
                </a:solidFill>
                <a:latin typeface="Arial"/>
                <a:cs typeface="Arial"/>
              </a:rPr>
              <a:t>terms </a:t>
            </a:r>
            <a:r>
              <a:rPr sz="2267" dirty="0">
                <a:solidFill>
                  <a:srgbClr val="4D4E5C"/>
                </a:solidFill>
                <a:latin typeface="Arial"/>
                <a:cs typeface="Arial"/>
              </a:rPr>
              <a:t>of </a:t>
            </a:r>
            <a:r>
              <a:rPr sz="2267" spc="-7" dirty="0">
                <a:solidFill>
                  <a:srgbClr val="4D4E5C"/>
                </a:solidFill>
                <a:latin typeface="Arial"/>
                <a:cs typeface="Arial"/>
              </a:rPr>
              <a:t>its,</a:t>
            </a:r>
            <a:endParaRPr sz="2267">
              <a:latin typeface="Arial"/>
              <a:cs typeface="Arial"/>
            </a:endParaRPr>
          </a:p>
          <a:p>
            <a:pPr marL="1540895" lvl="2" indent="-304792">
              <a:spcBef>
                <a:spcPts val="567"/>
              </a:spcBef>
              <a:buClr>
                <a:srgbClr val="00AFEF"/>
              </a:buClr>
              <a:buFont typeface="Wingdings"/>
              <a:buChar char=""/>
              <a:tabLst>
                <a:tab pos="1540048" algn="l"/>
                <a:tab pos="1540895" algn="l"/>
              </a:tabLst>
            </a:pPr>
            <a:r>
              <a:rPr sz="2000" spc="-7" dirty="0">
                <a:solidFill>
                  <a:srgbClr val="4D4E5C"/>
                </a:solidFill>
                <a:latin typeface="Arial"/>
                <a:cs typeface="Arial"/>
              </a:rPr>
              <a:t>Name </a:t>
            </a:r>
            <a:r>
              <a:rPr sz="2000" dirty="0">
                <a:solidFill>
                  <a:srgbClr val="4D4E5C"/>
                </a:solidFill>
                <a:latin typeface="Arial"/>
                <a:cs typeface="Arial"/>
              </a:rPr>
              <a:t>and</a:t>
            </a:r>
            <a:r>
              <a:rPr sz="2000" spc="-20" dirty="0">
                <a:solidFill>
                  <a:srgbClr val="4D4E5C"/>
                </a:solidFill>
                <a:latin typeface="Arial"/>
                <a:cs typeface="Arial"/>
              </a:rPr>
              <a:t> Version</a:t>
            </a:r>
            <a:endParaRPr sz="2000">
              <a:latin typeface="Arial"/>
              <a:cs typeface="Arial"/>
            </a:endParaRPr>
          </a:p>
          <a:p>
            <a:pPr marL="1540895" lvl="2" indent="-304792">
              <a:spcBef>
                <a:spcPts val="560"/>
              </a:spcBef>
              <a:buClr>
                <a:srgbClr val="00AFEF"/>
              </a:buClr>
              <a:buFont typeface="Wingdings"/>
              <a:buChar char=""/>
              <a:tabLst>
                <a:tab pos="1540048" algn="l"/>
                <a:tab pos="1540895" algn="l"/>
              </a:tabLst>
            </a:pPr>
            <a:r>
              <a:rPr sz="2000" dirty="0">
                <a:solidFill>
                  <a:srgbClr val="4D4E5C"/>
                </a:solidFill>
                <a:latin typeface="Arial"/>
                <a:cs typeface="Arial"/>
              </a:rPr>
              <a:t>Artifact</a:t>
            </a:r>
            <a:r>
              <a:rPr sz="2000" spc="-80" dirty="0">
                <a:solidFill>
                  <a:srgbClr val="4D4E5C"/>
                </a:solidFill>
                <a:latin typeface="Arial"/>
                <a:cs typeface="Arial"/>
              </a:rPr>
              <a:t> </a:t>
            </a:r>
            <a:r>
              <a:rPr sz="2000" spc="-40" dirty="0">
                <a:solidFill>
                  <a:srgbClr val="4D4E5C"/>
                </a:solidFill>
                <a:latin typeface="Arial"/>
                <a:cs typeface="Arial"/>
              </a:rPr>
              <a:t>Type</a:t>
            </a:r>
            <a:endParaRPr sz="2000">
              <a:latin typeface="Arial"/>
              <a:cs typeface="Arial"/>
            </a:endParaRPr>
          </a:p>
          <a:p>
            <a:pPr marL="1540895" lvl="2" indent="-304792">
              <a:spcBef>
                <a:spcPts val="567"/>
              </a:spcBef>
              <a:buClr>
                <a:srgbClr val="00AFEF"/>
              </a:buClr>
              <a:buFont typeface="Wingdings"/>
              <a:buChar char=""/>
              <a:tabLst>
                <a:tab pos="1540048" algn="l"/>
                <a:tab pos="1540895" algn="l"/>
              </a:tabLst>
            </a:pPr>
            <a:r>
              <a:rPr sz="2000" spc="-7" dirty="0">
                <a:solidFill>
                  <a:srgbClr val="4D4E5C"/>
                </a:solidFill>
                <a:latin typeface="Arial"/>
                <a:cs typeface="Arial"/>
              </a:rPr>
              <a:t>Source </a:t>
            </a:r>
            <a:r>
              <a:rPr sz="2000" dirty="0">
                <a:solidFill>
                  <a:srgbClr val="4D4E5C"/>
                </a:solidFill>
                <a:latin typeface="Arial"/>
                <a:cs typeface="Arial"/>
              </a:rPr>
              <a:t>Code</a:t>
            </a:r>
            <a:r>
              <a:rPr sz="2000" spc="-27" dirty="0">
                <a:solidFill>
                  <a:srgbClr val="4D4E5C"/>
                </a:solidFill>
                <a:latin typeface="Arial"/>
                <a:cs typeface="Arial"/>
              </a:rPr>
              <a:t> </a:t>
            </a:r>
            <a:r>
              <a:rPr sz="2000" dirty="0">
                <a:solidFill>
                  <a:srgbClr val="4D4E5C"/>
                </a:solidFill>
                <a:latin typeface="Arial"/>
                <a:cs typeface="Arial"/>
              </a:rPr>
              <a:t>Locations</a:t>
            </a:r>
            <a:endParaRPr sz="2000">
              <a:latin typeface="Arial"/>
              <a:cs typeface="Arial"/>
            </a:endParaRPr>
          </a:p>
          <a:p>
            <a:pPr marL="1540895" lvl="2" indent="-304792">
              <a:spcBef>
                <a:spcPts val="560"/>
              </a:spcBef>
              <a:buClr>
                <a:srgbClr val="00AFEF"/>
              </a:buClr>
              <a:buFont typeface="Wingdings"/>
              <a:buChar char=""/>
              <a:tabLst>
                <a:tab pos="1540048" algn="l"/>
                <a:tab pos="1540895" algn="l"/>
              </a:tabLst>
            </a:pPr>
            <a:r>
              <a:rPr sz="2000" dirty="0">
                <a:solidFill>
                  <a:srgbClr val="4D4E5C"/>
                </a:solidFill>
                <a:latin typeface="Arial"/>
                <a:cs typeface="Arial"/>
              </a:rPr>
              <a:t>Dependencies</a:t>
            </a:r>
            <a:endParaRPr sz="2000">
              <a:latin typeface="Arial"/>
              <a:cs typeface="Arial"/>
            </a:endParaRPr>
          </a:p>
          <a:p>
            <a:pPr marL="1540895" lvl="2" indent="-304792">
              <a:spcBef>
                <a:spcPts val="560"/>
              </a:spcBef>
              <a:buClr>
                <a:srgbClr val="00AFEF"/>
              </a:buClr>
              <a:buFont typeface="Wingdings"/>
              <a:buChar char=""/>
              <a:tabLst>
                <a:tab pos="1540048" algn="l"/>
                <a:tab pos="1540895" algn="l"/>
              </a:tabLst>
            </a:pPr>
            <a:r>
              <a:rPr sz="2000" dirty="0">
                <a:solidFill>
                  <a:srgbClr val="4D4E5C"/>
                </a:solidFill>
                <a:latin typeface="Arial"/>
                <a:cs typeface="Arial"/>
              </a:rPr>
              <a:t>Plugins</a:t>
            </a:r>
            <a:endParaRPr sz="2000">
              <a:latin typeface="Arial"/>
              <a:cs typeface="Arial"/>
            </a:endParaRPr>
          </a:p>
          <a:p>
            <a:pPr marL="1540895" lvl="2" indent="-304792">
              <a:spcBef>
                <a:spcPts val="560"/>
              </a:spcBef>
              <a:buClr>
                <a:srgbClr val="00AFEF"/>
              </a:buClr>
              <a:buFont typeface="Wingdings"/>
              <a:buChar char=""/>
              <a:tabLst>
                <a:tab pos="1540048" algn="l"/>
                <a:tab pos="1540895" algn="l"/>
              </a:tabLst>
            </a:pPr>
            <a:r>
              <a:rPr sz="2000" spc="-7" dirty="0">
                <a:solidFill>
                  <a:srgbClr val="4D4E5C"/>
                </a:solidFill>
                <a:latin typeface="Arial"/>
                <a:cs typeface="Arial"/>
              </a:rPr>
              <a:t>Commands </a:t>
            </a:r>
            <a:r>
              <a:rPr sz="2000" dirty="0">
                <a:solidFill>
                  <a:srgbClr val="4D4E5C"/>
                </a:solidFill>
                <a:latin typeface="Arial"/>
                <a:cs typeface="Arial"/>
              </a:rPr>
              <a:t>(goals) that can be</a:t>
            </a:r>
            <a:r>
              <a:rPr sz="2000" spc="-107" dirty="0">
                <a:solidFill>
                  <a:srgbClr val="4D4E5C"/>
                </a:solidFill>
                <a:latin typeface="Arial"/>
                <a:cs typeface="Arial"/>
              </a:rPr>
              <a:t> </a:t>
            </a:r>
            <a:r>
              <a:rPr sz="2000" spc="-7" dirty="0">
                <a:solidFill>
                  <a:srgbClr val="4D4E5C"/>
                </a:solidFill>
                <a:latin typeface="Arial"/>
                <a:cs typeface="Arial"/>
              </a:rPr>
              <a:t>executed</a:t>
            </a:r>
            <a:endParaRPr sz="2000">
              <a:latin typeface="Arial"/>
              <a:cs typeface="Arial"/>
            </a:endParaRPr>
          </a:p>
          <a:p>
            <a:pPr marL="1540895" lvl="2" indent="-304792">
              <a:spcBef>
                <a:spcPts val="560"/>
              </a:spcBef>
              <a:buClr>
                <a:srgbClr val="00AFEF"/>
              </a:buClr>
              <a:buFont typeface="Wingdings"/>
              <a:buChar char=""/>
              <a:tabLst>
                <a:tab pos="1540048" algn="l"/>
                <a:tab pos="1540895" algn="l"/>
              </a:tabLst>
            </a:pPr>
            <a:r>
              <a:rPr sz="2000" dirty="0">
                <a:solidFill>
                  <a:srgbClr val="4D4E5C"/>
                </a:solidFill>
                <a:latin typeface="Arial"/>
                <a:cs typeface="Arial"/>
              </a:rPr>
              <a:t>Profiles (Alternate </a:t>
            </a:r>
            <a:r>
              <a:rPr sz="2000" spc="-7" dirty="0">
                <a:solidFill>
                  <a:srgbClr val="4D4E5C"/>
                </a:solidFill>
                <a:latin typeface="Arial"/>
                <a:cs typeface="Arial"/>
              </a:rPr>
              <a:t>build</a:t>
            </a:r>
            <a:r>
              <a:rPr sz="2000" spc="-73" dirty="0">
                <a:solidFill>
                  <a:srgbClr val="4D4E5C"/>
                </a:solidFill>
                <a:latin typeface="Arial"/>
                <a:cs typeface="Arial"/>
              </a:rPr>
              <a:t> </a:t>
            </a:r>
            <a:r>
              <a:rPr sz="2000" spc="-7" dirty="0">
                <a:solidFill>
                  <a:srgbClr val="4D4E5C"/>
                </a:solidFill>
                <a:latin typeface="Arial"/>
                <a:cs typeface="Arial"/>
              </a:rPr>
              <a:t>configurations)</a:t>
            </a:r>
            <a:endParaRPr sz="2000">
              <a:latin typeface="Arial"/>
              <a:cs typeface="Arial"/>
            </a:endParaRPr>
          </a:p>
          <a:p>
            <a:pPr marL="325112" indent="-308179">
              <a:spcBef>
                <a:spcPts val="473"/>
              </a:spcBef>
              <a:buClr>
                <a:srgbClr val="00AFEF"/>
              </a:buClr>
              <a:buFont typeface="Wingdings"/>
              <a:buChar char=""/>
              <a:tabLst>
                <a:tab pos="325959" algn="l"/>
              </a:tabLst>
            </a:pPr>
            <a:r>
              <a:rPr sz="2533" spc="-7" dirty="0">
                <a:solidFill>
                  <a:srgbClr val="4D4E5C"/>
                </a:solidFill>
                <a:latin typeface="Arial"/>
                <a:cs typeface="Arial"/>
              </a:rPr>
              <a:t>POM uses standard build </a:t>
            </a:r>
            <a:r>
              <a:rPr sz="2533" spc="-27" dirty="0">
                <a:solidFill>
                  <a:srgbClr val="4D4E5C"/>
                </a:solidFill>
                <a:latin typeface="Arial"/>
                <a:cs typeface="Arial"/>
              </a:rPr>
              <a:t>order, </a:t>
            </a:r>
            <a:r>
              <a:rPr sz="2533" spc="-7" dirty="0">
                <a:solidFill>
                  <a:srgbClr val="4D4E5C"/>
                </a:solidFill>
                <a:latin typeface="Arial"/>
                <a:cs typeface="Arial"/>
              </a:rPr>
              <a:t>directories and</a:t>
            </a:r>
            <a:r>
              <a:rPr sz="2533" spc="260" dirty="0">
                <a:solidFill>
                  <a:srgbClr val="4D4E5C"/>
                </a:solidFill>
                <a:latin typeface="Arial"/>
                <a:cs typeface="Arial"/>
              </a:rPr>
              <a:t> </a:t>
            </a:r>
            <a:r>
              <a:rPr sz="2533" spc="-7" dirty="0">
                <a:solidFill>
                  <a:srgbClr val="4D4E5C"/>
                </a:solidFill>
                <a:latin typeface="Arial"/>
                <a:cs typeface="Arial"/>
              </a:rPr>
              <a:t>plugins</a:t>
            </a:r>
            <a:endParaRPr sz="2533">
              <a:latin typeface="Arial"/>
              <a:cs typeface="Arial"/>
            </a:endParaRPr>
          </a:p>
          <a:p>
            <a:pPr marL="325112" indent="-308179">
              <a:lnSpc>
                <a:spcPts val="2887"/>
              </a:lnSpc>
              <a:spcBef>
                <a:spcPts val="500"/>
              </a:spcBef>
              <a:buClr>
                <a:srgbClr val="00AFEF"/>
              </a:buClr>
              <a:buFont typeface="Wingdings"/>
              <a:buChar char=""/>
              <a:tabLst>
                <a:tab pos="325959" algn="l"/>
              </a:tabLst>
            </a:pPr>
            <a:r>
              <a:rPr sz="2533" spc="-7" dirty="0">
                <a:solidFill>
                  <a:srgbClr val="4D4E5C"/>
                </a:solidFill>
                <a:latin typeface="Arial"/>
                <a:cs typeface="Arial"/>
              </a:rPr>
              <a:t>Pom.xml identifies the dependencies provides uniformity</a:t>
            </a:r>
            <a:r>
              <a:rPr sz="2533" spc="387" dirty="0">
                <a:solidFill>
                  <a:srgbClr val="4D4E5C"/>
                </a:solidFill>
                <a:latin typeface="Arial"/>
                <a:cs typeface="Arial"/>
              </a:rPr>
              <a:t> </a:t>
            </a:r>
            <a:r>
              <a:rPr sz="2533" spc="-7" dirty="0">
                <a:solidFill>
                  <a:srgbClr val="4D4E5C"/>
                </a:solidFill>
                <a:latin typeface="Arial"/>
                <a:cs typeface="Arial"/>
              </a:rPr>
              <a:t>and</a:t>
            </a:r>
            <a:endParaRPr sz="2533">
              <a:latin typeface="Arial"/>
              <a:cs typeface="Arial"/>
            </a:endParaRPr>
          </a:p>
          <a:p>
            <a:pPr marL="325112">
              <a:lnSpc>
                <a:spcPts val="2887"/>
              </a:lnSpc>
            </a:pPr>
            <a:r>
              <a:rPr sz="2533" spc="-7" dirty="0">
                <a:solidFill>
                  <a:srgbClr val="4D4E5C"/>
                </a:solidFill>
                <a:latin typeface="Arial"/>
                <a:cs typeface="Arial"/>
              </a:rPr>
              <a:t>enables the build process</a:t>
            </a:r>
            <a:r>
              <a:rPr sz="2533" spc="140" dirty="0">
                <a:solidFill>
                  <a:srgbClr val="4D4E5C"/>
                </a:solidFill>
                <a:latin typeface="Arial"/>
                <a:cs typeface="Arial"/>
              </a:rPr>
              <a:t> </a:t>
            </a:r>
            <a:r>
              <a:rPr sz="2533" spc="-7" dirty="0">
                <a:solidFill>
                  <a:srgbClr val="4D4E5C"/>
                </a:solidFill>
                <a:latin typeface="Arial"/>
                <a:cs typeface="Arial"/>
              </a:rPr>
              <a:t>easier</a:t>
            </a:r>
            <a:endParaRPr sz="2533">
              <a:latin typeface="Arial"/>
              <a:cs typeface="Arial"/>
            </a:endParaRPr>
          </a:p>
          <a:p>
            <a:pPr marL="325112" indent="-308179">
              <a:spcBef>
                <a:spcPts val="493"/>
              </a:spcBef>
              <a:buClr>
                <a:srgbClr val="00AFEF"/>
              </a:buClr>
              <a:buFont typeface="Wingdings"/>
              <a:buChar char=""/>
              <a:tabLst>
                <a:tab pos="325959" algn="l"/>
              </a:tabLst>
            </a:pPr>
            <a:r>
              <a:rPr sz="2533" spc="-7" dirty="0">
                <a:solidFill>
                  <a:srgbClr val="4D4E5C"/>
                </a:solidFill>
                <a:latin typeface="Arial"/>
                <a:cs typeface="Arial"/>
              </a:rPr>
              <a:t>A POM can call </a:t>
            </a:r>
            <a:r>
              <a:rPr sz="2533" spc="-20" dirty="0">
                <a:solidFill>
                  <a:srgbClr val="4D4E5C"/>
                </a:solidFill>
                <a:latin typeface="Arial"/>
                <a:cs typeface="Arial"/>
              </a:rPr>
              <a:t>it’s </a:t>
            </a:r>
            <a:r>
              <a:rPr sz="2533" spc="-7" dirty="0">
                <a:solidFill>
                  <a:srgbClr val="4D4E5C"/>
                </a:solidFill>
                <a:latin typeface="Arial"/>
                <a:cs typeface="Arial"/>
              </a:rPr>
              <a:t>child</a:t>
            </a:r>
            <a:r>
              <a:rPr sz="2533" spc="-53" dirty="0">
                <a:solidFill>
                  <a:srgbClr val="4D4E5C"/>
                </a:solidFill>
                <a:latin typeface="Arial"/>
                <a:cs typeface="Arial"/>
              </a:rPr>
              <a:t> </a:t>
            </a:r>
            <a:r>
              <a:rPr sz="2533" spc="-7" dirty="0">
                <a:solidFill>
                  <a:srgbClr val="4D4E5C"/>
                </a:solidFill>
                <a:latin typeface="Arial"/>
                <a:cs typeface="Arial"/>
              </a:rPr>
              <a:t>POMs</a:t>
            </a:r>
            <a:endParaRPr sz="2533">
              <a:latin typeface="Arial"/>
              <a:cs typeface="Arial"/>
            </a:endParaRPr>
          </a:p>
        </p:txBody>
      </p:sp>
    </p:spTree>
    <p:extLst>
      <p:ext uri="{BB962C8B-B14F-4D97-AF65-F5344CB8AC3E}">
        <p14:creationId xmlns:p14="http://schemas.microsoft.com/office/powerpoint/2010/main" val="171831360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p:cNvSpPr>
            <a:spLocks noGrp="1"/>
          </p:cNvSpPr>
          <p:nvPr>
            <p:ph idx="1"/>
          </p:nvPr>
        </p:nvSpPr>
        <p:spPr/>
        <p:txBody>
          <a:bodyPr/>
          <a:lstStyle/>
          <a:p>
            <a:endParaRPr lang="en-IN" dirty="0"/>
          </a:p>
        </p:txBody>
      </p:sp>
      <p:sp>
        <p:nvSpPr>
          <p:cNvPr id="2" name="object 2"/>
          <p:cNvSpPr txBox="1">
            <a:spLocks noGrp="1"/>
          </p:cNvSpPr>
          <p:nvPr>
            <p:ph type="title"/>
          </p:nvPr>
        </p:nvSpPr>
        <p:spPr>
          <a:prstGeom prst="rect">
            <a:avLst/>
          </a:prstGeom>
        </p:spPr>
        <p:txBody>
          <a:bodyPr vert="horz" wrap="square" lIns="0" tIns="17780" rIns="0" bIns="0" numCol="1" rtlCol="0" anchor="ctr" anchorCtr="0" compatLnSpc="1">
            <a:prstTxWarp prst="textNoShape">
              <a:avLst/>
            </a:prstTxWarp>
            <a:spAutoFit/>
          </a:bodyPr>
          <a:lstStyle/>
          <a:p>
            <a:pPr marL="16933">
              <a:spcBef>
                <a:spcPts val="140"/>
              </a:spcBef>
            </a:pPr>
            <a:r>
              <a:rPr dirty="0"/>
              <a:t>POM -</a:t>
            </a:r>
            <a:r>
              <a:rPr spc="-120" dirty="0"/>
              <a:t> </a:t>
            </a:r>
            <a:r>
              <a:rPr dirty="0"/>
              <a:t>Structure</a:t>
            </a:r>
          </a:p>
        </p:txBody>
      </p:sp>
      <p:sp>
        <p:nvSpPr>
          <p:cNvPr id="3" name="object 3"/>
          <p:cNvSpPr/>
          <p:nvPr/>
        </p:nvSpPr>
        <p:spPr>
          <a:xfrm>
            <a:off x="240145" y="838767"/>
            <a:ext cx="11859491" cy="5465975"/>
          </a:xfrm>
          <a:prstGeom prst="rect">
            <a:avLst/>
          </a:prstGeom>
          <a:blipFill>
            <a:blip r:embed="rId2" cstate="print"/>
            <a:stretch>
              <a:fillRect/>
            </a:stretch>
          </a:blipFill>
        </p:spPr>
        <p:txBody>
          <a:bodyPr wrap="square" lIns="0" tIns="0" rIns="0" bIns="0" rtlCol="0"/>
          <a:lstStyle/>
          <a:p>
            <a:endParaRPr/>
          </a:p>
        </p:txBody>
      </p:sp>
    </p:spTree>
    <p:extLst>
      <p:ext uri="{BB962C8B-B14F-4D97-AF65-F5344CB8AC3E}">
        <p14:creationId xmlns:p14="http://schemas.microsoft.com/office/powerpoint/2010/main" val="18763985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868218" y="307002"/>
            <a:ext cx="4969164" cy="479618"/>
          </a:xfrm>
          <a:prstGeom prst="rect">
            <a:avLst/>
          </a:prstGeom>
        </p:spPr>
        <p:txBody>
          <a:bodyPr vert="horz" wrap="square" lIns="0" tIns="17780" rIns="0" bIns="0" numCol="1" rtlCol="0" anchor="t" anchorCtr="0" compatLnSpc="1">
            <a:prstTxWarp prst="textNoShape">
              <a:avLst/>
            </a:prstTxWarp>
            <a:spAutoFit/>
          </a:bodyPr>
          <a:lstStyle/>
          <a:p>
            <a:pPr marL="16933">
              <a:spcBef>
                <a:spcPts val="140"/>
              </a:spcBef>
            </a:pPr>
            <a:r>
              <a:rPr dirty="0"/>
              <a:t>Mandatory Fields</a:t>
            </a:r>
            <a:r>
              <a:rPr spc="-100" dirty="0"/>
              <a:t> </a:t>
            </a:r>
            <a:r>
              <a:rPr dirty="0"/>
              <a:t>-POM</a:t>
            </a:r>
          </a:p>
        </p:txBody>
      </p:sp>
      <p:sp>
        <p:nvSpPr>
          <p:cNvPr id="3" name="object 3"/>
          <p:cNvSpPr txBox="1"/>
          <p:nvPr/>
        </p:nvSpPr>
        <p:spPr>
          <a:xfrm>
            <a:off x="284208" y="892860"/>
            <a:ext cx="11446933" cy="5611387"/>
          </a:xfrm>
          <a:prstGeom prst="rect">
            <a:avLst/>
          </a:prstGeom>
        </p:spPr>
        <p:txBody>
          <a:bodyPr vert="horz" wrap="square" lIns="0" tIns="118533" rIns="0" bIns="0" rtlCol="0">
            <a:spAutoFit/>
          </a:bodyPr>
          <a:lstStyle/>
          <a:p>
            <a:pPr marL="325112" indent="-308179">
              <a:spcBef>
                <a:spcPts val="933"/>
              </a:spcBef>
              <a:buClr>
                <a:srgbClr val="00AFEF"/>
              </a:buClr>
              <a:buFont typeface="Wingdings"/>
              <a:buChar char=""/>
              <a:tabLst>
                <a:tab pos="325959" algn="l"/>
              </a:tabLst>
            </a:pPr>
            <a:r>
              <a:rPr sz="2667" dirty="0">
                <a:solidFill>
                  <a:srgbClr val="4D4E5C"/>
                </a:solidFill>
                <a:latin typeface="Arial"/>
                <a:cs typeface="Arial"/>
              </a:rPr>
              <a:t>groupId</a:t>
            </a:r>
            <a:endParaRPr sz="2667">
              <a:latin typeface="Arial"/>
              <a:cs typeface="Arial"/>
            </a:endParaRPr>
          </a:p>
          <a:p>
            <a:pPr marL="110064">
              <a:spcBef>
                <a:spcPts val="807"/>
              </a:spcBef>
            </a:pPr>
            <a:r>
              <a:rPr sz="2667" dirty="0">
                <a:solidFill>
                  <a:srgbClr val="4D4E5C"/>
                </a:solidFill>
                <a:latin typeface="Arial"/>
                <a:cs typeface="Arial"/>
              </a:rPr>
              <a:t>- A Maven project has a group</a:t>
            </a:r>
            <a:r>
              <a:rPr sz="2667" spc="-487" dirty="0">
                <a:solidFill>
                  <a:srgbClr val="4D4E5C"/>
                </a:solidFill>
                <a:latin typeface="Arial"/>
                <a:cs typeface="Arial"/>
              </a:rPr>
              <a:t> </a:t>
            </a:r>
            <a:r>
              <a:rPr sz="2667" dirty="0">
                <a:solidFill>
                  <a:srgbClr val="4D4E5C"/>
                </a:solidFill>
                <a:latin typeface="Arial"/>
                <a:cs typeface="Arial"/>
              </a:rPr>
              <a:t>ID.</a:t>
            </a:r>
            <a:endParaRPr sz="2667">
              <a:latin typeface="Arial"/>
              <a:cs typeface="Arial"/>
            </a:endParaRPr>
          </a:p>
          <a:p>
            <a:pPr marL="325112" indent="-308179">
              <a:spcBef>
                <a:spcPts val="800"/>
              </a:spcBef>
              <a:buClr>
                <a:srgbClr val="00AFEF"/>
              </a:buClr>
              <a:buChar char="-"/>
              <a:tabLst>
                <a:tab pos="325112" algn="l"/>
                <a:tab pos="325959" algn="l"/>
              </a:tabLst>
            </a:pPr>
            <a:r>
              <a:rPr sz="2667" dirty="0">
                <a:solidFill>
                  <a:srgbClr val="4D4E5C"/>
                </a:solidFill>
                <a:latin typeface="Arial"/>
                <a:cs typeface="Arial"/>
              </a:rPr>
              <a:t>This ID is Unique amongst</a:t>
            </a:r>
            <a:r>
              <a:rPr sz="2667" spc="-107" dirty="0">
                <a:solidFill>
                  <a:srgbClr val="4D4E5C"/>
                </a:solidFill>
                <a:latin typeface="Arial"/>
                <a:cs typeface="Arial"/>
              </a:rPr>
              <a:t> </a:t>
            </a:r>
            <a:r>
              <a:rPr sz="2667" dirty="0">
                <a:solidFill>
                  <a:srgbClr val="4D4E5C"/>
                </a:solidFill>
                <a:latin typeface="Arial"/>
                <a:cs typeface="Arial"/>
              </a:rPr>
              <a:t>Organization</a:t>
            </a:r>
            <a:endParaRPr sz="2667">
              <a:latin typeface="Arial"/>
              <a:cs typeface="Arial"/>
            </a:endParaRPr>
          </a:p>
          <a:p>
            <a:pPr marL="419090" indent="-402157">
              <a:spcBef>
                <a:spcPts val="800"/>
              </a:spcBef>
              <a:buClr>
                <a:srgbClr val="00AFEF"/>
              </a:buClr>
              <a:buChar char="-"/>
              <a:tabLst>
                <a:tab pos="419090" algn="l"/>
                <a:tab pos="419936" algn="l"/>
              </a:tabLst>
            </a:pPr>
            <a:r>
              <a:rPr sz="2667" dirty="0">
                <a:solidFill>
                  <a:srgbClr val="4D4E5C"/>
                </a:solidFill>
                <a:latin typeface="Arial"/>
                <a:cs typeface="Arial"/>
              </a:rPr>
              <a:t>It represents the id for group</a:t>
            </a:r>
            <a:r>
              <a:rPr sz="2667" spc="-200" dirty="0">
                <a:solidFill>
                  <a:srgbClr val="4D4E5C"/>
                </a:solidFill>
                <a:latin typeface="Arial"/>
                <a:cs typeface="Arial"/>
              </a:rPr>
              <a:t> </a:t>
            </a:r>
            <a:r>
              <a:rPr sz="2667" dirty="0">
                <a:solidFill>
                  <a:srgbClr val="4D4E5C"/>
                </a:solidFill>
                <a:latin typeface="Arial"/>
                <a:cs typeface="Arial"/>
              </a:rPr>
              <a:t>project.</a:t>
            </a:r>
            <a:endParaRPr sz="2667">
              <a:latin typeface="Arial"/>
              <a:cs typeface="Arial"/>
            </a:endParaRPr>
          </a:p>
          <a:p>
            <a:pPr>
              <a:spcBef>
                <a:spcPts val="47"/>
              </a:spcBef>
            </a:pPr>
            <a:endParaRPr sz="4133">
              <a:latin typeface="Times New Roman"/>
              <a:cs typeface="Times New Roman"/>
            </a:endParaRPr>
          </a:p>
          <a:p>
            <a:pPr marL="325112" indent="-308179">
              <a:buClr>
                <a:srgbClr val="00AFEF"/>
              </a:buClr>
              <a:buFont typeface="Wingdings"/>
              <a:buChar char=""/>
              <a:tabLst>
                <a:tab pos="325959" algn="l"/>
              </a:tabLst>
            </a:pPr>
            <a:r>
              <a:rPr sz="2667" spc="-7" dirty="0">
                <a:solidFill>
                  <a:srgbClr val="4D4E5C"/>
                </a:solidFill>
                <a:latin typeface="Arial"/>
                <a:cs typeface="Arial"/>
              </a:rPr>
              <a:t>artifactId</a:t>
            </a:r>
            <a:endParaRPr sz="2667">
              <a:latin typeface="Arial"/>
              <a:cs typeface="Arial"/>
            </a:endParaRPr>
          </a:p>
          <a:p>
            <a:pPr marL="16933">
              <a:spcBef>
                <a:spcPts val="800"/>
              </a:spcBef>
            </a:pPr>
            <a:r>
              <a:rPr sz="2667" dirty="0">
                <a:solidFill>
                  <a:srgbClr val="4D4E5C"/>
                </a:solidFill>
                <a:latin typeface="Arial"/>
                <a:cs typeface="Arial"/>
              </a:rPr>
              <a:t>- artifactId is </a:t>
            </a:r>
            <a:r>
              <a:rPr sz="2667" spc="-7" dirty="0">
                <a:solidFill>
                  <a:srgbClr val="4D4E5C"/>
                </a:solidFill>
                <a:latin typeface="Arial"/>
                <a:cs typeface="Arial"/>
              </a:rPr>
              <a:t>the </a:t>
            </a:r>
            <a:r>
              <a:rPr sz="2667" dirty="0">
                <a:solidFill>
                  <a:srgbClr val="4D4E5C"/>
                </a:solidFill>
                <a:latin typeface="Arial"/>
                <a:cs typeface="Arial"/>
              </a:rPr>
              <a:t>id of the project </a:t>
            </a:r>
            <a:r>
              <a:rPr sz="2667" spc="-7" dirty="0">
                <a:solidFill>
                  <a:srgbClr val="4D4E5C"/>
                </a:solidFill>
                <a:latin typeface="Arial"/>
                <a:cs typeface="Arial"/>
              </a:rPr>
              <a:t>i.e. </a:t>
            </a:r>
            <a:r>
              <a:rPr sz="2667" dirty="0">
                <a:solidFill>
                  <a:srgbClr val="4D4E5C"/>
                </a:solidFill>
                <a:latin typeface="Arial"/>
                <a:cs typeface="Arial"/>
              </a:rPr>
              <a:t>the name of</a:t>
            </a:r>
            <a:r>
              <a:rPr sz="2667" spc="-293" dirty="0">
                <a:solidFill>
                  <a:srgbClr val="4D4E5C"/>
                </a:solidFill>
                <a:latin typeface="Arial"/>
                <a:cs typeface="Arial"/>
              </a:rPr>
              <a:t> </a:t>
            </a:r>
            <a:r>
              <a:rPr sz="2667" dirty="0">
                <a:solidFill>
                  <a:srgbClr val="4D4E5C"/>
                </a:solidFill>
                <a:latin typeface="Arial"/>
                <a:cs typeface="Arial"/>
              </a:rPr>
              <a:t>Project</a:t>
            </a:r>
            <a:endParaRPr sz="2667">
              <a:latin typeface="Arial"/>
              <a:cs typeface="Arial"/>
            </a:endParaRPr>
          </a:p>
          <a:p>
            <a:pPr>
              <a:spcBef>
                <a:spcPts val="53"/>
              </a:spcBef>
            </a:pPr>
            <a:endParaRPr sz="4133">
              <a:latin typeface="Times New Roman"/>
              <a:cs typeface="Times New Roman"/>
            </a:endParaRPr>
          </a:p>
          <a:p>
            <a:pPr marL="325112" indent="-308179">
              <a:buClr>
                <a:srgbClr val="00AFEF"/>
              </a:buClr>
              <a:buFont typeface="Wingdings"/>
              <a:buChar char=""/>
              <a:tabLst>
                <a:tab pos="325959" algn="l"/>
              </a:tabLst>
            </a:pPr>
            <a:r>
              <a:rPr sz="2667" spc="-20" dirty="0">
                <a:solidFill>
                  <a:srgbClr val="4D4E5C"/>
                </a:solidFill>
                <a:latin typeface="Arial"/>
                <a:cs typeface="Arial"/>
              </a:rPr>
              <a:t>Version</a:t>
            </a:r>
            <a:endParaRPr sz="2667">
              <a:latin typeface="Arial"/>
              <a:cs typeface="Arial"/>
            </a:endParaRPr>
          </a:p>
          <a:p>
            <a:pPr marL="110064">
              <a:spcBef>
                <a:spcPts val="800"/>
              </a:spcBef>
              <a:tabLst>
                <a:tab pos="408930" algn="l"/>
              </a:tabLst>
            </a:pPr>
            <a:r>
              <a:rPr sz="2667" dirty="0">
                <a:solidFill>
                  <a:srgbClr val="4D4E5C"/>
                </a:solidFill>
                <a:latin typeface="Arial"/>
                <a:cs typeface="Arial"/>
              </a:rPr>
              <a:t>-	It gives information whether it </a:t>
            </a:r>
            <a:r>
              <a:rPr sz="2667" spc="-7" dirty="0">
                <a:solidFill>
                  <a:srgbClr val="4D4E5C"/>
                </a:solidFill>
                <a:latin typeface="Arial"/>
                <a:cs typeface="Arial"/>
              </a:rPr>
              <a:t>is </a:t>
            </a:r>
            <a:r>
              <a:rPr sz="2667" dirty="0">
                <a:solidFill>
                  <a:srgbClr val="4D4E5C"/>
                </a:solidFill>
                <a:latin typeface="Arial"/>
                <a:cs typeface="Arial"/>
              </a:rPr>
              <a:t>a development version or release</a:t>
            </a:r>
            <a:r>
              <a:rPr sz="2667" spc="-267" dirty="0">
                <a:solidFill>
                  <a:srgbClr val="4D4E5C"/>
                </a:solidFill>
                <a:latin typeface="Arial"/>
                <a:cs typeface="Arial"/>
              </a:rPr>
              <a:t> </a:t>
            </a:r>
            <a:r>
              <a:rPr sz="2667" dirty="0">
                <a:solidFill>
                  <a:srgbClr val="4D4E5C"/>
                </a:solidFill>
                <a:latin typeface="Arial"/>
                <a:cs typeface="Arial"/>
              </a:rPr>
              <a:t>version</a:t>
            </a:r>
            <a:endParaRPr sz="2667">
              <a:latin typeface="Arial"/>
              <a:cs typeface="Arial"/>
            </a:endParaRPr>
          </a:p>
          <a:p>
            <a:pPr marL="16933"/>
            <a:r>
              <a:rPr sz="2667" dirty="0">
                <a:solidFill>
                  <a:srgbClr val="4D4E5C"/>
                </a:solidFill>
                <a:latin typeface="Arial"/>
                <a:cs typeface="Arial"/>
              </a:rPr>
              <a:t>etc. For example: 1.0-SNAPSHOT signifies it is development</a:t>
            </a:r>
            <a:r>
              <a:rPr sz="2667" spc="-253" dirty="0">
                <a:solidFill>
                  <a:srgbClr val="4D4E5C"/>
                </a:solidFill>
                <a:latin typeface="Arial"/>
                <a:cs typeface="Arial"/>
              </a:rPr>
              <a:t> </a:t>
            </a:r>
            <a:r>
              <a:rPr sz="2667" dirty="0">
                <a:solidFill>
                  <a:srgbClr val="4D4E5C"/>
                </a:solidFill>
                <a:latin typeface="Arial"/>
                <a:cs typeface="Arial"/>
              </a:rPr>
              <a:t>version.</a:t>
            </a:r>
            <a:endParaRPr sz="2667">
              <a:latin typeface="Arial"/>
              <a:cs typeface="Arial"/>
            </a:endParaRPr>
          </a:p>
        </p:txBody>
      </p:sp>
    </p:spTree>
    <p:extLst>
      <p:ext uri="{BB962C8B-B14F-4D97-AF65-F5344CB8AC3E}">
        <p14:creationId xmlns:p14="http://schemas.microsoft.com/office/powerpoint/2010/main" val="205074856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108364" y="132181"/>
            <a:ext cx="2546697" cy="479618"/>
          </a:xfrm>
          <a:prstGeom prst="rect">
            <a:avLst/>
          </a:prstGeom>
        </p:spPr>
        <p:txBody>
          <a:bodyPr vert="horz" wrap="square" lIns="0" tIns="17780" rIns="0" bIns="0" numCol="1" rtlCol="0" anchor="t" anchorCtr="0" compatLnSpc="1">
            <a:prstTxWarp prst="textNoShape">
              <a:avLst/>
            </a:prstTxWarp>
            <a:spAutoFit/>
          </a:bodyPr>
          <a:lstStyle/>
          <a:p>
            <a:pPr marL="16933">
              <a:spcBef>
                <a:spcPts val="140"/>
              </a:spcBef>
            </a:pPr>
            <a:r>
              <a:rPr spc="7" dirty="0"/>
              <a:t>POM </a:t>
            </a:r>
            <a:r>
              <a:rPr dirty="0"/>
              <a:t>-</a:t>
            </a:r>
            <a:r>
              <a:rPr spc="-120" dirty="0"/>
              <a:t> </a:t>
            </a:r>
            <a:r>
              <a:rPr dirty="0"/>
              <a:t>Example</a:t>
            </a:r>
          </a:p>
        </p:txBody>
      </p:sp>
      <p:sp>
        <p:nvSpPr>
          <p:cNvPr id="3" name="object 3"/>
          <p:cNvSpPr/>
          <p:nvPr/>
        </p:nvSpPr>
        <p:spPr>
          <a:xfrm>
            <a:off x="1564640" y="894077"/>
            <a:ext cx="7611872" cy="4783297"/>
          </a:xfrm>
          <a:prstGeom prst="rect">
            <a:avLst/>
          </a:prstGeom>
          <a:blipFill>
            <a:blip r:embed="rId2" cstate="print"/>
            <a:stretch>
              <a:fillRect/>
            </a:stretch>
          </a:blipFill>
        </p:spPr>
        <p:txBody>
          <a:bodyPr wrap="square" lIns="0" tIns="0" rIns="0" bIns="0" rtlCol="0"/>
          <a:lstStyle/>
          <a:p>
            <a:endParaRPr/>
          </a:p>
        </p:txBody>
      </p:sp>
      <p:sp>
        <p:nvSpPr>
          <p:cNvPr id="4" name="object 4"/>
          <p:cNvSpPr/>
          <p:nvPr/>
        </p:nvSpPr>
        <p:spPr>
          <a:xfrm>
            <a:off x="5500623" y="3369090"/>
            <a:ext cx="5019040" cy="948909"/>
          </a:xfrm>
          <a:prstGeom prst="rect">
            <a:avLst/>
          </a:prstGeom>
          <a:blipFill>
            <a:blip r:embed="rId3" cstate="print"/>
            <a:stretch>
              <a:fillRect/>
            </a:stretch>
          </a:blipFill>
        </p:spPr>
        <p:txBody>
          <a:bodyPr wrap="square" lIns="0" tIns="0" rIns="0" bIns="0" rtlCol="0"/>
          <a:lstStyle/>
          <a:p>
            <a:endParaRPr/>
          </a:p>
        </p:txBody>
      </p:sp>
      <p:sp>
        <p:nvSpPr>
          <p:cNvPr id="5" name="object 5"/>
          <p:cNvSpPr/>
          <p:nvPr/>
        </p:nvSpPr>
        <p:spPr>
          <a:xfrm>
            <a:off x="7211568" y="3742943"/>
            <a:ext cx="3094736" cy="640079"/>
          </a:xfrm>
          <a:prstGeom prst="rect">
            <a:avLst/>
          </a:prstGeom>
          <a:blipFill>
            <a:blip r:embed="rId4" cstate="print"/>
            <a:stretch>
              <a:fillRect/>
            </a:stretch>
          </a:blipFill>
        </p:spPr>
        <p:txBody>
          <a:bodyPr wrap="square" lIns="0" tIns="0" rIns="0" bIns="0" rtlCol="0"/>
          <a:lstStyle/>
          <a:p>
            <a:endParaRPr/>
          </a:p>
        </p:txBody>
      </p:sp>
      <p:sp>
        <p:nvSpPr>
          <p:cNvPr id="6" name="object 6"/>
          <p:cNvSpPr/>
          <p:nvPr/>
        </p:nvSpPr>
        <p:spPr>
          <a:xfrm>
            <a:off x="7330440" y="3784601"/>
            <a:ext cx="3113193" cy="430953"/>
          </a:xfrm>
          <a:custGeom>
            <a:avLst/>
            <a:gdLst/>
            <a:ahLst/>
            <a:cxnLst/>
            <a:rect l="l" t="t" r="r" b="b"/>
            <a:pathLst>
              <a:path w="2334895" h="323214">
                <a:moveTo>
                  <a:pt x="0" y="323088"/>
                </a:moveTo>
                <a:lnTo>
                  <a:pt x="2334768" y="323088"/>
                </a:lnTo>
                <a:lnTo>
                  <a:pt x="2334768" y="0"/>
                </a:lnTo>
                <a:lnTo>
                  <a:pt x="0" y="0"/>
                </a:lnTo>
                <a:lnTo>
                  <a:pt x="0" y="323088"/>
                </a:lnTo>
                <a:close/>
              </a:path>
            </a:pathLst>
          </a:custGeom>
          <a:solidFill>
            <a:srgbClr val="FFC000"/>
          </a:solidFill>
        </p:spPr>
        <p:txBody>
          <a:bodyPr wrap="square" lIns="0" tIns="0" rIns="0" bIns="0" rtlCol="0"/>
          <a:lstStyle/>
          <a:p>
            <a:endParaRPr/>
          </a:p>
        </p:txBody>
      </p:sp>
      <p:sp>
        <p:nvSpPr>
          <p:cNvPr id="7" name="object 7"/>
          <p:cNvSpPr/>
          <p:nvPr/>
        </p:nvSpPr>
        <p:spPr>
          <a:xfrm>
            <a:off x="7330440" y="3784601"/>
            <a:ext cx="3113193" cy="430953"/>
          </a:xfrm>
          <a:custGeom>
            <a:avLst/>
            <a:gdLst/>
            <a:ahLst/>
            <a:cxnLst/>
            <a:rect l="l" t="t" r="r" b="b"/>
            <a:pathLst>
              <a:path w="2334895" h="323214">
                <a:moveTo>
                  <a:pt x="0" y="323088"/>
                </a:moveTo>
                <a:lnTo>
                  <a:pt x="2334768" y="323088"/>
                </a:lnTo>
                <a:lnTo>
                  <a:pt x="2334768" y="0"/>
                </a:lnTo>
                <a:lnTo>
                  <a:pt x="0" y="0"/>
                </a:lnTo>
                <a:lnTo>
                  <a:pt x="0" y="323088"/>
                </a:lnTo>
                <a:close/>
              </a:path>
            </a:pathLst>
          </a:custGeom>
          <a:ln w="38100">
            <a:solidFill>
              <a:srgbClr val="FFFFFF"/>
            </a:solidFill>
          </a:ln>
        </p:spPr>
        <p:txBody>
          <a:bodyPr wrap="square" lIns="0" tIns="0" rIns="0" bIns="0" rtlCol="0"/>
          <a:lstStyle/>
          <a:p>
            <a:endParaRPr/>
          </a:p>
        </p:txBody>
      </p:sp>
      <p:sp>
        <p:nvSpPr>
          <p:cNvPr id="8" name="object 8"/>
          <p:cNvSpPr/>
          <p:nvPr/>
        </p:nvSpPr>
        <p:spPr>
          <a:xfrm>
            <a:off x="7071020" y="3784601"/>
            <a:ext cx="0" cy="430953"/>
          </a:xfrm>
          <a:custGeom>
            <a:avLst/>
            <a:gdLst/>
            <a:ahLst/>
            <a:cxnLst/>
            <a:rect l="l" t="t" r="r" b="b"/>
            <a:pathLst>
              <a:path h="323214">
                <a:moveTo>
                  <a:pt x="0" y="0"/>
                </a:moveTo>
                <a:lnTo>
                  <a:pt x="0" y="323088"/>
                </a:lnTo>
              </a:path>
            </a:pathLst>
          </a:custGeom>
          <a:ln w="38100">
            <a:solidFill>
              <a:srgbClr val="FFFFFF"/>
            </a:solidFill>
          </a:ln>
        </p:spPr>
        <p:txBody>
          <a:bodyPr wrap="square" lIns="0" tIns="0" rIns="0" bIns="0" rtlCol="0"/>
          <a:lstStyle/>
          <a:p>
            <a:endParaRPr/>
          </a:p>
        </p:txBody>
      </p:sp>
      <p:sp>
        <p:nvSpPr>
          <p:cNvPr id="9" name="object 9"/>
          <p:cNvSpPr/>
          <p:nvPr/>
        </p:nvSpPr>
        <p:spPr>
          <a:xfrm>
            <a:off x="5583429" y="3424428"/>
            <a:ext cx="1487593" cy="441113"/>
          </a:xfrm>
          <a:custGeom>
            <a:avLst/>
            <a:gdLst/>
            <a:ahLst/>
            <a:cxnLst/>
            <a:rect l="l" t="t" r="r" b="b"/>
            <a:pathLst>
              <a:path w="1115695" h="330835">
                <a:moveTo>
                  <a:pt x="1115694" y="330708"/>
                </a:moveTo>
                <a:lnTo>
                  <a:pt x="0" y="0"/>
                </a:lnTo>
              </a:path>
            </a:pathLst>
          </a:custGeom>
          <a:ln w="38100">
            <a:solidFill>
              <a:srgbClr val="FFFFFF"/>
            </a:solidFill>
          </a:ln>
        </p:spPr>
        <p:txBody>
          <a:bodyPr wrap="square" lIns="0" tIns="0" rIns="0" bIns="0" rtlCol="0"/>
          <a:lstStyle/>
          <a:p>
            <a:endParaRPr/>
          </a:p>
        </p:txBody>
      </p:sp>
      <p:sp>
        <p:nvSpPr>
          <p:cNvPr id="10" name="object 10"/>
          <p:cNvSpPr txBox="1"/>
          <p:nvPr/>
        </p:nvSpPr>
        <p:spPr>
          <a:xfrm>
            <a:off x="7330440" y="3816603"/>
            <a:ext cx="3113193" cy="324875"/>
          </a:xfrm>
          <a:prstGeom prst="rect">
            <a:avLst/>
          </a:prstGeom>
        </p:spPr>
        <p:txBody>
          <a:bodyPr vert="horz" wrap="square" lIns="0" tIns="16933" rIns="0" bIns="0" rtlCol="0">
            <a:spAutoFit/>
          </a:bodyPr>
          <a:lstStyle/>
          <a:p>
            <a:pPr marL="90591">
              <a:spcBef>
                <a:spcPts val="133"/>
              </a:spcBef>
            </a:pPr>
            <a:r>
              <a:rPr sz="2000" spc="-93" dirty="0">
                <a:latin typeface="Trebuchet MS"/>
                <a:cs typeface="Trebuchet MS"/>
              </a:rPr>
              <a:t>version: </a:t>
            </a:r>
            <a:r>
              <a:rPr sz="2000" spc="-80" dirty="0">
                <a:latin typeface="Trebuchet MS"/>
                <a:cs typeface="Trebuchet MS"/>
              </a:rPr>
              <a:t>version of</a:t>
            </a:r>
            <a:r>
              <a:rPr sz="2000" spc="-320" dirty="0">
                <a:latin typeface="Trebuchet MS"/>
                <a:cs typeface="Trebuchet MS"/>
              </a:rPr>
              <a:t> </a:t>
            </a:r>
            <a:r>
              <a:rPr sz="2000" spc="-120" dirty="0">
                <a:latin typeface="Trebuchet MS"/>
                <a:cs typeface="Trebuchet MS"/>
              </a:rPr>
              <a:t>project</a:t>
            </a:r>
            <a:endParaRPr sz="2000">
              <a:latin typeface="Trebuchet MS"/>
              <a:cs typeface="Trebuchet MS"/>
            </a:endParaRPr>
          </a:p>
        </p:txBody>
      </p:sp>
      <p:sp>
        <p:nvSpPr>
          <p:cNvPr id="11" name="object 11"/>
          <p:cNvSpPr/>
          <p:nvPr/>
        </p:nvSpPr>
        <p:spPr>
          <a:xfrm>
            <a:off x="7783068" y="2108200"/>
            <a:ext cx="0" cy="536787"/>
          </a:xfrm>
          <a:custGeom>
            <a:avLst/>
            <a:gdLst/>
            <a:ahLst/>
            <a:cxnLst/>
            <a:rect l="l" t="t" r="r" b="b"/>
            <a:pathLst>
              <a:path h="402589">
                <a:moveTo>
                  <a:pt x="0" y="0"/>
                </a:moveTo>
                <a:lnTo>
                  <a:pt x="0" y="402336"/>
                </a:lnTo>
              </a:path>
            </a:pathLst>
          </a:custGeom>
          <a:ln w="25908">
            <a:solidFill>
              <a:srgbClr val="BB8B00"/>
            </a:solidFill>
          </a:ln>
        </p:spPr>
        <p:txBody>
          <a:bodyPr wrap="square" lIns="0" tIns="0" rIns="0" bIns="0" rtlCol="0"/>
          <a:lstStyle/>
          <a:p>
            <a:endParaRPr/>
          </a:p>
        </p:txBody>
      </p:sp>
      <p:sp>
        <p:nvSpPr>
          <p:cNvPr id="12" name="object 12"/>
          <p:cNvSpPr/>
          <p:nvPr/>
        </p:nvSpPr>
        <p:spPr>
          <a:xfrm>
            <a:off x="6963495" y="2208785"/>
            <a:ext cx="819573" cy="229447"/>
          </a:xfrm>
          <a:custGeom>
            <a:avLst/>
            <a:gdLst/>
            <a:ahLst/>
            <a:cxnLst/>
            <a:rect l="l" t="t" r="r" b="b"/>
            <a:pathLst>
              <a:path w="614679" h="172085">
                <a:moveTo>
                  <a:pt x="614679" y="0"/>
                </a:moveTo>
                <a:lnTo>
                  <a:pt x="0" y="171576"/>
                </a:lnTo>
              </a:path>
            </a:pathLst>
          </a:custGeom>
          <a:ln w="25908">
            <a:solidFill>
              <a:srgbClr val="BB8B00"/>
            </a:solidFill>
          </a:ln>
        </p:spPr>
        <p:txBody>
          <a:bodyPr wrap="square" lIns="0" tIns="0" rIns="0" bIns="0" rtlCol="0"/>
          <a:lstStyle/>
          <a:p>
            <a:endParaRPr/>
          </a:p>
        </p:txBody>
      </p:sp>
      <p:sp>
        <p:nvSpPr>
          <p:cNvPr id="13" name="object 13"/>
          <p:cNvSpPr txBox="1"/>
          <p:nvPr/>
        </p:nvSpPr>
        <p:spPr>
          <a:xfrm>
            <a:off x="8005063" y="2108200"/>
            <a:ext cx="2664460" cy="381301"/>
          </a:xfrm>
          <a:prstGeom prst="rect">
            <a:avLst/>
          </a:prstGeom>
          <a:solidFill>
            <a:srgbClr val="FFC000"/>
          </a:solidFill>
          <a:ln w="25907">
            <a:solidFill>
              <a:srgbClr val="BB8B00"/>
            </a:solidFill>
          </a:ln>
        </p:spPr>
        <p:txBody>
          <a:bodyPr vert="horz" wrap="square" lIns="0" tIns="133773" rIns="0" bIns="0" rtlCol="0">
            <a:spAutoFit/>
          </a:bodyPr>
          <a:lstStyle/>
          <a:p>
            <a:pPr marL="91438">
              <a:spcBef>
                <a:spcPts val="1053"/>
              </a:spcBef>
            </a:pPr>
            <a:r>
              <a:rPr sz="1600" spc="-67" dirty="0">
                <a:latin typeface="Trebuchet MS"/>
                <a:cs typeface="Trebuchet MS"/>
              </a:rPr>
              <a:t>groupId: </a:t>
            </a:r>
            <a:r>
              <a:rPr sz="1600" spc="-47" dirty="0">
                <a:latin typeface="Trebuchet MS"/>
                <a:cs typeface="Trebuchet MS"/>
              </a:rPr>
              <a:t>Id </a:t>
            </a:r>
            <a:r>
              <a:rPr sz="1600" spc="-67" dirty="0">
                <a:latin typeface="Trebuchet MS"/>
                <a:cs typeface="Trebuchet MS"/>
              </a:rPr>
              <a:t>of </a:t>
            </a:r>
            <a:r>
              <a:rPr sz="1600" spc="-100" dirty="0">
                <a:latin typeface="Trebuchet MS"/>
                <a:cs typeface="Trebuchet MS"/>
              </a:rPr>
              <a:t>Project</a:t>
            </a:r>
            <a:r>
              <a:rPr sz="1600" spc="-360" dirty="0">
                <a:latin typeface="Trebuchet MS"/>
                <a:cs typeface="Trebuchet MS"/>
              </a:rPr>
              <a:t> </a:t>
            </a:r>
            <a:r>
              <a:rPr sz="1600" spc="-53" dirty="0">
                <a:latin typeface="Trebuchet MS"/>
                <a:cs typeface="Trebuchet MS"/>
              </a:rPr>
              <a:t>group</a:t>
            </a:r>
            <a:endParaRPr sz="1600">
              <a:latin typeface="Trebuchet MS"/>
              <a:cs typeface="Trebuchet MS"/>
            </a:endParaRPr>
          </a:p>
        </p:txBody>
      </p:sp>
      <p:sp>
        <p:nvSpPr>
          <p:cNvPr id="14" name="object 14"/>
          <p:cNvSpPr/>
          <p:nvPr/>
        </p:nvSpPr>
        <p:spPr>
          <a:xfrm>
            <a:off x="7532623" y="3095752"/>
            <a:ext cx="0" cy="284480"/>
          </a:xfrm>
          <a:custGeom>
            <a:avLst/>
            <a:gdLst/>
            <a:ahLst/>
            <a:cxnLst/>
            <a:rect l="l" t="t" r="r" b="b"/>
            <a:pathLst>
              <a:path h="213360">
                <a:moveTo>
                  <a:pt x="0" y="0"/>
                </a:moveTo>
                <a:lnTo>
                  <a:pt x="0" y="213360"/>
                </a:lnTo>
              </a:path>
            </a:pathLst>
          </a:custGeom>
          <a:ln w="25908">
            <a:solidFill>
              <a:srgbClr val="BB8B00"/>
            </a:solidFill>
          </a:ln>
        </p:spPr>
        <p:txBody>
          <a:bodyPr wrap="square" lIns="0" tIns="0" rIns="0" bIns="0" rtlCol="0"/>
          <a:lstStyle/>
          <a:p>
            <a:endParaRPr/>
          </a:p>
        </p:txBody>
      </p:sp>
      <p:sp>
        <p:nvSpPr>
          <p:cNvPr id="15" name="object 15"/>
          <p:cNvSpPr/>
          <p:nvPr/>
        </p:nvSpPr>
        <p:spPr>
          <a:xfrm>
            <a:off x="5757841" y="2878327"/>
            <a:ext cx="1775460" cy="270933"/>
          </a:xfrm>
          <a:custGeom>
            <a:avLst/>
            <a:gdLst/>
            <a:ahLst/>
            <a:cxnLst/>
            <a:rect l="l" t="t" r="r" b="b"/>
            <a:pathLst>
              <a:path w="1331595" h="203200">
                <a:moveTo>
                  <a:pt x="1331087" y="203073"/>
                </a:moveTo>
                <a:lnTo>
                  <a:pt x="0" y="0"/>
                </a:lnTo>
              </a:path>
            </a:pathLst>
          </a:custGeom>
          <a:ln w="25908">
            <a:solidFill>
              <a:srgbClr val="BB8B00"/>
            </a:solidFill>
          </a:ln>
        </p:spPr>
        <p:txBody>
          <a:bodyPr wrap="square" lIns="0" tIns="0" rIns="0" bIns="0" rtlCol="0"/>
          <a:lstStyle/>
          <a:p>
            <a:endParaRPr/>
          </a:p>
        </p:txBody>
      </p:sp>
      <p:sp>
        <p:nvSpPr>
          <p:cNvPr id="16" name="object 16"/>
          <p:cNvSpPr txBox="1"/>
          <p:nvPr/>
        </p:nvSpPr>
        <p:spPr>
          <a:xfrm>
            <a:off x="7763255" y="3095753"/>
            <a:ext cx="2767752" cy="282129"/>
          </a:xfrm>
          <a:prstGeom prst="rect">
            <a:avLst/>
          </a:prstGeom>
          <a:solidFill>
            <a:srgbClr val="FFC000"/>
          </a:solidFill>
          <a:ln w="25907">
            <a:solidFill>
              <a:srgbClr val="BB8B00"/>
            </a:solidFill>
          </a:ln>
        </p:spPr>
        <p:txBody>
          <a:bodyPr vert="horz" wrap="square" lIns="0" tIns="0" rIns="0" bIns="0" rtlCol="0">
            <a:spAutoFit/>
          </a:bodyPr>
          <a:lstStyle/>
          <a:p>
            <a:pPr marL="91438">
              <a:lnSpc>
                <a:spcPts val="2207"/>
              </a:lnSpc>
            </a:pPr>
            <a:r>
              <a:rPr sz="2000" spc="-113" dirty="0">
                <a:latin typeface="Trebuchet MS"/>
                <a:cs typeface="Trebuchet MS"/>
              </a:rPr>
              <a:t>artifactId: </a:t>
            </a:r>
            <a:r>
              <a:rPr sz="2000" spc="-60" dirty="0">
                <a:latin typeface="Trebuchet MS"/>
                <a:cs typeface="Trebuchet MS"/>
              </a:rPr>
              <a:t>Id </a:t>
            </a:r>
            <a:r>
              <a:rPr sz="2000" spc="-80" dirty="0">
                <a:latin typeface="Trebuchet MS"/>
                <a:cs typeface="Trebuchet MS"/>
              </a:rPr>
              <a:t>of</a:t>
            </a:r>
            <a:r>
              <a:rPr sz="2000" spc="-380" dirty="0">
                <a:latin typeface="Trebuchet MS"/>
                <a:cs typeface="Trebuchet MS"/>
              </a:rPr>
              <a:t> </a:t>
            </a:r>
            <a:r>
              <a:rPr sz="2000" spc="-127" dirty="0">
                <a:latin typeface="Trebuchet MS"/>
                <a:cs typeface="Trebuchet MS"/>
              </a:rPr>
              <a:t>project</a:t>
            </a:r>
            <a:endParaRPr sz="2000">
              <a:latin typeface="Trebuchet MS"/>
              <a:cs typeface="Trebuchet MS"/>
            </a:endParaRPr>
          </a:p>
        </p:txBody>
      </p:sp>
      <p:sp>
        <p:nvSpPr>
          <p:cNvPr id="17" name="object 17"/>
          <p:cNvSpPr/>
          <p:nvPr/>
        </p:nvSpPr>
        <p:spPr>
          <a:xfrm>
            <a:off x="5655055" y="5724145"/>
            <a:ext cx="5585967" cy="770161"/>
          </a:xfrm>
          <a:prstGeom prst="rect">
            <a:avLst/>
          </a:prstGeom>
          <a:blipFill>
            <a:blip r:embed="rId5" cstate="print"/>
            <a:stretch>
              <a:fillRect/>
            </a:stretch>
          </a:blipFill>
        </p:spPr>
        <p:txBody>
          <a:bodyPr wrap="square" lIns="0" tIns="0" rIns="0" bIns="0" rtlCol="0"/>
          <a:lstStyle/>
          <a:p>
            <a:endParaRPr/>
          </a:p>
        </p:txBody>
      </p:sp>
      <p:sp>
        <p:nvSpPr>
          <p:cNvPr id="18" name="object 18"/>
          <p:cNvSpPr/>
          <p:nvPr/>
        </p:nvSpPr>
        <p:spPr>
          <a:xfrm>
            <a:off x="5661152" y="5736336"/>
            <a:ext cx="3484880" cy="796560"/>
          </a:xfrm>
          <a:prstGeom prst="rect">
            <a:avLst/>
          </a:prstGeom>
          <a:blipFill>
            <a:blip r:embed="rId6" cstate="print"/>
            <a:stretch>
              <a:fillRect/>
            </a:stretch>
          </a:blipFill>
        </p:spPr>
        <p:txBody>
          <a:bodyPr wrap="square" lIns="0" tIns="0" rIns="0" bIns="0" rtlCol="0"/>
          <a:lstStyle/>
          <a:p>
            <a:endParaRPr/>
          </a:p>
        </p:txBody>
      </p:sp>
      <p:sp>
        <p:nvSpPr>
          <p:cNvPr id="19" name="object 19"/>
          <p:cNvSpPr/>
          <p:nvPr/>
        </p:nvSpPr>
        <p:spPr>
          <a:xfrm>
            <a:off x="5718047" y="5760720"/>
            <a:ext cx="5466080" cy="650240"/>
          </a:xfrm>
          <a:prstGeom prst="rect">
            <a:avLst/>
          </a:prstGeom>
          <a:blipFill>
            <a:blip r:embed="rId7" cstate="print"/>
            <a:stretch>
              <a:fillRect/>
            </a:stretch>
          </a:blipFill>
        </p:spPr>
        <p:txBody>
          <a:bodyPr wrap="square" lIns="0" tIns="0" rIns="0" bIns="0" rtlCol="0"/>
          <a:lstStyle/>
          <a:p>
            <a:endParaRPr/>
          </a:p>
        </p:txBody>
      </p:sp>
      <p:sp>
        <p:nvSpPr>
          <p:cNvPr id="20" name="object 20"/>
          <p:cNvSpPr txBox="1"/>
          <p:nvPr/>
        </p:nvSpPr>
        <p:spPr>
          <a:xfrm>
            <a:off x="5718047" y="5760721"/>
            <a:ext cx="5466080" cy="559983"/>
          </a:xfrm>
          <a:prstGeom prst="rect">
            <a:avLst/>
          </a:prstGeom>
          <a:ln w="9144">
            <a:solidFill>
              <a:srgbClr val="00AF4E"/>
            </a:solidFill>
          </a:ln>
        </p:spPr>
        <p:txBody>
          <a:bodyPr vert="horz" wrap="square" lIns="0" tIns="54187" rIns="0" bIns="0" rtlCol="0">
            <a:spAutoFit/>
          </a:bodyPr>
          <a:lstStyle/>
          <a:p>
            <a:pPr marL="121917">
              <a:spcBef>
                <a:spcPts val="427"/>
              </a:spcBef>
            </a:pPr>
            <a:r>
              <a:rPr sz="1600" spc="-73" dirty="0">
                <a:latin typeface="Trebuchet MS"/>
                <a:cs typeface="Trebuchet MS"/>
              </a:rPr>
              <a:t>Note: </a:t>
            </a:r>
            <a:r>
              <a:rPr sz="1600" b="1" spc="-120" dirty="0">
                <a:latin typeface="Trebuchet MS"/>
                <a:cs typeface="Trebuchet MS"/>
              </a:rPr>
              <a:t>Project </a:t>
            </a:r>
            <a:r>
              <a:rPr sz="1600" b="1" spc="-67" dirty="0">
                <a:latin typeface="Trebuchet MS"/>
                <a:cs typeface="Trebuchet MS"/>
              </a:rPr>
              <a:t>Notation </a:t>
            </a:r>
            <a:r>
              <a:rPr sz="1600" b="1" spc="-87" dirty="0">
                <a:latin typeface="Trebuchet MS"/>
                <a:cs typeface="Trebuchet MS"/>
              </a:rPr>
              <a:t>in repository</a:t>
            </a:r>
            <a:r>
              <a:rPr sz="1600" b="1" spc="-293" dirty="0">
                <a:latin typeface="Trebuchet MS"/>
                <a:cs typeface="Trebuchet MS"/>
              </a:rPr>
              <a:t> </a:t>
            </a:r>
            <a:r>
              <a:rPr sz="1600" b="1" spc="-100" dirty="0">
                <a:latin typeface="Trebuchet MS"/>
                <a:cs typeface="Trebuchet MS"/>
              </a:rPr>
              <a:t>-</a:t>
            </a:r>
            <a:endParaRPr sz="1600" dirty="0">
              <a:latin typeface="Trebuchet MS"/>
              <a:cs typeface="Trebuchet MS"/>
            </a:endParaRPr>
          </a:p>
          <a:p>
            <a:pPr marL="121917">
              <a:spcBef>
                <a:spcPts val="147"/>
              </a:spcBef>
            </a:pPr>
            <a:r>
              <a:rPr sz="1600" spc="-80" dirty="0">
                <a:latin typeface="Trebuchet MS"/>
                <a:cs typeface="Trebuchet MS"/>
              </a:rPr>
              <a:t>groupId:artifactId:version</a:t>
            </a:r>
            <a:endParaRPr sz="1600" dirty="0">
              <a:latin typeface="Trebuchet MS"/>
              <a:cs typeface="Trebuchet MS"/>
            </a:endParaRPr>
          </a:p>
        </p:txBody>
      </p:sp>
    </p:spTree>
    <p:extLst>
      <p:ext uri="{BB962C8B-B14F-4D97-AF65-F5344CB8AC3E}">
        <p14:creationId xmlns:p14="http://schemas.microsoft.com/office/powerpoint/2010/main" val="20697719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025236" y="307001"/>
            <a:ext cx="5394037" cy="479618"/>
          </a:xfrm>
          <a:prstGeom prst="rect">
            <a:avLst/>
          </a:prstGeom>
        </p:spPr>
        <p:txBody>
          <a:bodyPr vert="horz" wrap="square" lIns="0" tIns="17780" rIns="0" bIns="0" numCol="1" rtlCol="0" anchor="t" anchorCtr="0" compatLnSpc="1">
            <a:prstTxWarp prst="textNoShape">
              <a:avLst/>
            </a:prstTxWarp>
            <a:spAutoFit/>
          </a:bodyPr>
          <a:lstStyle/>
          <a:p>
            <a:pPr marL="16933">
              <a:spcBef>
                <a:spcPts val="140"/>
              </a:spcBef>
            </a:pPr>
            <a:r>
              <a:rPr dirty="0"/>
              <a:t>Continuous Integration</a:t>
            </a:r>
            <a:r>
              <a:rPr spc="-127" dirty="0"/>
              <a:t> </a:t>
            </a:r>
            <a:r>
              <a:rPr dirty="0"/>
              <a:t>(CI)</a:t>
            </a:r>
          </a:p>
        </p:txBody>
      </p:sp>
      <p:sp>
        <p:nvSpPr>
          <p:cNvPr id="3" name="object 3"/>
          <p:cNvSpPr txBox="1"/>
          <p:nvPr/>
        </p:nvSpPr>
        <p:spPr>
          <a:xfrm>
            <a:off x="265735" y="994155"/>
            <a:ext cx="10979573" cy="2542043"/>
          </a:xfrm>
          <a:prstGeom prst="rect">
            <a:avLst/>
          </a:prstGeom>
        </p:spPr>
        <p:txBody>
          <a:bodyPr vert="horz" wrap="square" lIns="0" tIns="17780" rIns="0" bIns="0" rtlCol="0">
            <a:spAutoFit/>
          </a:bodyPr>
          <a:lstStyle/>
          <a:p>
            <a:pPr marL="325112" marR="6773" indent="-308179">
              <a:spcBef>
                <a:spcPts val="140"/>
              </a:spcBef>
              <a:buClr>
                <a:srgbClr val="00AFEF"/>
              </a:buClr>
              <a:buFont typeface="Wingdings"/>
              <a:buChar char=""/>
              <a:tabLst>
                <a:tab pos="325959" algn="l"/>
              </a:tabLst>
            </a:pPr>
            <a:r>
              <a:rPr sz="2667" spc="-7" dirty="0">
                <a:solidFill>
                  <a:srgbClr val="4D4E5C"/>
                </a:solidFill>
                <a:latin typeface="Arial"/>
                <a:cs typeface="Arial"/>
              </a:rPr>
              <a:t>“Continuous Integration is </a:t>
            </a:r>
            <a:r>
              <a:rPr sz="2667" dirty="0">
                <a:solidFill>
                  <a:srgbClr val="4D4E5C"/>
                </a:solidFill>
                <a:latin typeface="Arial"/>
                <a:cs typeface="Arial"/>
              </a:rPr>
              <a:t>a software </a:t>
            </a:r>
            <a:r>
              <a:rPr sz="2667" spc="-7" dirty="0">
                <a:solidFill>
                  <a:srgbClr val="4D4E5C"/>
                </a:solidFill>
                <a:latin typeface="Arial"/>
                <a:cs typeface="Arial"/>
              </a:rPr>
              <a:t>development </a:t>
            </a:r>
            <a:r>
              <a:rPr sz="2667" dirty="0">
                <a:solidFill>
                  <a:srgbClr val="4D4E5C"/>
                </a:solidFill>
                <a:latin typeface="Arial"/>
                <a:cs typeface="Arial"/>
              </a:rPr>
              <a:t>practice where  members of a </a:t>
            </a:r>
            <a:r>
              <a:rPr sz="2667" spc="-7" dirty="0">
                <a:solidFill>
                  <a:srgbClr val="4D4E5C"/>
                </a:solidFill>
                <a:latin typeface="Arial"/>
                <a:cs typeface="Arial"/>
              </a:rPr>
              <a:t>team </a:t>
            </a:r>
            <a:r>
              <a:rPr sz="2667" dirty="0">
                <a:solidFill>
                  <a:srgbClr val="4D4E5C"/>
                </a:solidFill>
                <a:latin typeface="Arial"/>
                <a:cs typeface="Arial"/>
              </a:rPr>
              <a:t>integrate their work </a:t>
            </a:r>
            <a:r>
              <a:rPr sz="2667" spc="-20" dirty="0">
                <a:solidFill>
                  <a:srgbClr val="4D4E5C"/>
                </a:solidFill>
                <a:latin typeface="Arial"/>
                <a:cs typeface="Arial"/>
              </a:rPr>
              <a:t>frequently, </a:t>
            </a:r>
            <a:r>
              <a:rPr sz="2667" dirty="0">
                <a:solidFill>
                  <a:srgbClr val="4D4E5C"/>
                </a:solidFill>
                <a:latin typeface="Arial"/>
                <a:cs typeface="Arial"/>
              </a:rPr>
              <a:t>usually each</a:t>
            </a:r>
            <a:r>
              <a:rPr sz="2667" spc="-227" dirty="0">
                <a:solidFill>
                  <a:srgbClr val="4D4E5C"/>
                </a:solidFill>
                <a:latin typeface="Arial"/>
                <a:cs typeface="Arial"/>
              </a:rPr>
              <a:t> </a:t>
            </a:r>
            <a:r>
              <a:rPr sz="2667" dirty="0">
                <a:solidFill>
                  <a:srgbClr val="4D4E5C"/>
                </a:solidFill>
                <a:latin typeface="Arial"/>
                <a:cs typeface="Arial"/>
              </a:rPr>
              <a:t>person  integrates at least daily - leading to multiple integrations per </a:t>
            </a:r>
            <a:r>
              <a:rPr sz="2667" spc="-53" dirty="0">
                <a:solidFill>
                  <a:srgbClr val="4D4E5C"/>
                </a:solidFill>
                <a:latin typeface="Arial"/>
                <a:cs typeface="Arial"/>
              </a:rPr>
              <a:t>day. </a:t>
            </a:r>
            <a:r>
              <a:rPr sz="2667" dirty="0">
                <a:solidFill>
                  <a:srgbClr val="4D4E5C"/>
                </a:solidFill>
                <a:latin typeface="Arial"/>
                <a:cs typeface="Arial"/>
              </a:rPr>
              <a:t>Each  integration is verified by an automated build (including test) to detect  </a:t>
            </a:r>
            <a:r>
              <a:rPr sz="2667" spc="-7" dirty="0">
                <a:solidFill>
                  <a:srgbClr val="4D4E5C"/>
                </a:solidFill>
                <a:latin typeface="Arial"/>
                <a:cs typeface="Arial"/>
              </a:rPr>
              <a:t>integration </a:t>
            </a:r>
            <a:r>
              <a:rPr sz="2667" dirty="0">
                <a:solidFill>
                  <a:srgbClr val="4D4E5C"/>
                </a:solidFill>
                <a:latin typeface="Arial"/>
                <a:cs typeface="Arial"/>
              </a:rPr>
              <a:t>errors as </a:t>
            </a:r>
            <a:r>
              <a:rPr sz="2667" spc="-7" dirty="0">
                <a:solidFill>
                  <a:srgbClr val="4D4E5C"/>
                </a:solidFill>
                <a:latin typeface="Arial"/>
                <a:cs typeface="Arial"/>
              </a:rPr>
              <a:t>quickly </a:t>
            </a:r>
            <a:r>
              <a:rPr sz="2667" dirty="0">
                <a:solidFill>
                  <a:srgbClr val="4D4E5C"/>
                </a:solidFill>
                <a:latin typeface="Arial"/>
                <a:cs typeface="Arial"/>
              </a:rPr>
              <a:t>as</a:t>
            </a:r>
            <a:r>
              <a:rPr sz="2667" spc="-160" dirty="0">
                <a:solidFill>
                  <a:srgbClr val="4D4E5C"/>
                </a:solidFill>
                <a:latin typeface="Arial"/>
                <a:cs typeface="Arial"/>
              </a:rPr>
              <a:t> </a:t>
            </a:r>
            <a:r>
              <a:rPr sz="2667" spc="-7" dirty="0">
                <a:solidFill>
                  <a:srgbClr val="4D4E5C"/>
                </a:solidFill>
                <a:latin typeface="Arial"/>
                <a:cs typeface="Arial"/>
              </a:rPr>
              <a:t>possible”</a:t>
            </a:r>
            <a:endParaRPr sz="2667" dirty="0">
              <a:latin typeface="Arial"/>
              <a:cs typeface="Arial"/>
            </a:endParaRPr>
          </a:p>
          <a:p>
            <a:pPr marL="474121">
              <a:spcBef>
                <a:spcPts val="813"/>
              </a:spcBef>
            </a:pPr>
            <a:r>
              <a:rPr sz="2400" dirty="0">
                <a:solidFill>
                  <a:srgbClr val="4D4E5C"/>
                </a:solidFill>
                <a:latin typeface="Arial"/>
                <a:cs typeface="Arial"/>
              </a:rPr>
              <a:t>– </a:t>
            </a:r>
            <a:r>
              <a:rPr sz="2400" spc="-7" dirty="0">
                <a:solidFill>
                  <a:srgbClr val="4D4E5C"/>
                </a:solidFill>
                <a:latin typeface="Arial"/>
                <a:cs typeface="Arial"/>
              </a:rPr>
              <a:t>Martin</a:t>
            </a:r>
            <a:r>
              <a:rPr sz="2400" spc="-27" dirty="0">
                <a:solidFill>
                  <a:srgbClr val="4D4E5C"/>
                </a:solidFill>
                <a:latin typeface="Arial"/>
                <a:cs typeface="Arial"/>
              </a:rPr>
              <a:t> </a:t>
            </a:r>
            <a:r>
              <a:rPr sz="2400" spc="-13" dirty="0">
                <a:solidFill>
                  <a:srgbClr val="4D4E5C"/>
                </a:solidFill>
                <a:latin typeface="Arial"/>
                <a:cs typeface="Arial"/>
              </a:rPr>
              <a:t>Fowler</a:t>
            </a:r>
            <a:endParaRPr sz="2400" dirty="0">
              <a:latin typeface="Arial"/>
              <a:cs typeface="Arial"/>
            </a:endParaRPr>
          </a:p>
        </p:txBody>
      </p:sp>
      <p:sp>
        <p:nvSpPr>
          <p:cNvPr id="4" name="object 4"/>
          <p:cNvSpPr/>
          <p:nvPr/>
        </p:nvSpPr>
        <p:spPr>
          <a:xfrm>
            <a:off x="5059679" y="3812031"/>
            <a:ext cx="5242560" cy="2533903"/>
          </a:xfrm>
          <a:prstGeom prst="rect">
            <a:avLst/>
          </a:prstGeom>
          <a:blipFill>
            <a:blip r:embed="rId2" cstate="print"/>
            <a:stretch>
              <a:fillRect/>
            </a:stretch>
          </a:blipFill>
        </p:spPr>
        <p:txBody>
          <a:bodyPr wrap="square" lIns="0" tIns="0" rIns="0" bIns="0" rtlCol="0"/>
          <a:lstStyle/>
          <a:p>
            <a:endParaRPr/>
          </a:p>
        </p:txBody>
      </p:sp>
    </p:spTree>
    <p:extLst>
      <p:ext uri="{BB962C8B-B14F-4D97-AF65-F5344CB8AC3E}">
        <p14:creationId xmlns:p14="http://schemas.microsoft.com/office/powerpoint/2010/main" val="229963157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object 10"/>
          <p:cNvSpPr txBox="1">
            <a:spLocks noGrp="1"/>
          </p:cNvSpPr>
          <p:nvPr>
            <p:ph type="title"/>
          </p:nvPr>
        </p:nvSpPr>
        <p:spPr>
          <a:prstGeom prst="rect">
            <a:avLst/>
          </a:prstGeom>
        </p:spPr>
        <p:txBody>
          <a:bodyPr vert="horz" wrap="square" lIns="0" tIns="16933" rIns="0" bIns="0" numCol="1" rtlCol="0" anchor="ctr" anchorCtr="0" compatLnSpc="1">
            <a:prstTxWarp prst="textNoShape">
              <a:avLst/>
            </a:prstTxWarp>
            <a:spAutoFit/>
          </a:bodyPr>
          <a:lstStyle/>
          <a:p>
            <a:pPr marL="16933">
              <a:spcBef>
                <a:spcPts val="133"/>
              </a:spcBef>
            </a:pPr>
            <a:r>
              <a:rPr sz="4800" dirty="0"/>
              <a:t>Lab 2: Create &amp; </a:t>
            </a:r>
            <a:r>
              <a:rPr sz="4800" spc="-7" dirty="0"/>
              <a:t>Build </a:t>
            </a:r>
            <a:r>
              <a:rPr sz="4800" dirty="0"/>
              <a:t>Maven</a:t>
            </a:r>
            <a:r>
              <a:rPr sz="4800" spc="-127" dirty="0"/>
              <a:t> </a:t>
            </a:r>
            <a:r>
              <a:rPr sz="4800" dirty="0"/>
              <a:t>Project</a:t>
            </a:r>
            <a:endParaRPr sz="4800"/>
          </a:p>
        </p:txBody>
      </p:sp>
    </p:spTree>
    <p:extLst>
      <p:ext uri="{BB962C8B-B14F-4D97-AF65-F5344CB8AC3E}">
        <p14:creationId xmlns:p14="http://schemas.microsoft.com/office/powerpoint/2010/main" val="415969545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818146" y="307001"/>
            <a:ext cx="1792701" cy="479618"/>
          </a:xfrm>
          <a:prstGeom prst="rect">
            <a:avLst/>
          </a:prstGeom>
        </p:spPr>
        <p:txBody>
          <a:bodyPr vert="horz" wrap="square" lIns="0" tIns="17780" rIns="0" bIns="0" numCol="1" rtlCol="0" anchor="t" anchorCtr="0" compatLnSpc="1">
            <a:prstTxWarp prst="textNoShape">
              <a:avLst/>
            </a:prstTxWarp>
            <a:spAutoFit/>
          </a:bodyPr>
          <a:lstStyle/>
          <a:p>
            <a:pPr marL="16933">
              <a:spcBef>
                <a:spcPts val="140"/>
              </a:spcBef>
            </a:pPr>
            <a:r>
              <a:rPr dirty="0"/>
              <a:t>Obje</a:t>
            </a:r>
            <a:r>
              <a:rPr spc="7" dirty="0"/>
              <a:t>c</a:t>
            </a:r>
            <a:r>
              <a:rPr dirty="0"/>
              <a:t>tives</a:t>
            </a:r>
          </a:p>
        </p:txBody>
      </p:sp>
      <p:sp>
        <p:nvSpPr>
          <p:cNvPr id="3" name="object 3"/>
          <p:cNvSpPr txBox="1"/>
          <p:nvPr/>
        </p:nvSpPr>
        <p:spPr>
          <a:xfrm>
            <a:off x="284208" y="892860"/>
            <a:ext cx="8527627" cy="1043148"/>
          </a:xfrm>
          <a:prstGeom prst="rect">
            <a:avLst/>
          </a:prstGeom>
        </p:spPr>
        <p:txBody>
          <a:bodyPr vert="horz" wrap="square" lIns="0" tIns="118533" rIns="0" bIns="0" rtlCol="0">
            <a:spAutoFit/>
          </a:bodyPr>
          <a:lstStyle/>
          <a:p>
            <a:pPr marL="325112" indent="-308179">
              <a:spcBef>
                <a:spcPts val="933"/>
              </a:spcBef>
              <a:buClr>
                <a:srgbClr val="00AFEF"/>
              </a:buClr>
              <a:buFont typeface="Wingdings"/>
              <a:buChar char=""/>
              <a:tabLst>
                <a:tab pos="325959" algn="l"/>
              </a:tabLst>
            </a:pPr>
            <a:r>
              <a:rPr sz="2667" dirty="0">
                <a:solidFill>
                  <a:srgbClr val="4D4E5C"/>
                </a:solidFill>
                <a:latin typeface="Arial"/>
                <a:cs typeface="Arial"/>
              </a:rPr>
              <a:t>Build a java project by creating a simple Maven</a:t>
            </a:r>
            <a:r>
              <a:rPr sz="2667" spc="-213" dirty="0">
                <a:solidFill>
                  <a:srgbClr val="4D4E5C"/>
                </a:solidFill>
                <a:latin typeface="Arial"/>
                <a:cs typeface="Arial"/>
              </a:rPr>
              <a:t> </a:t>
            </a:r>
            <a:r>
              <a:rPr sz="2667" dirty="0">
                <a:solidFill>
                  <a:srgbClr val="4D4E5C"/>
                </a:solidFill>
                <a:latin typeface="Arial"/>
                <a:cs typeface="Arial"/>
              </a:rPr>
              <a:t>project</a:t>
            </a:r>
            <a:endParaRPr sz="2667">
              <a:latin typeface="Arial"/>
              <a:cs typeface="Arial"/>
            </a:endParaRPr>
          </a:p>
          <a:p>
            <a:pPr marL="325112" indent="-308179">
              <a:spcBef>
                <a:spcPts val="807"/>
              </a:spcBef>
              <a:buClr>
                <a:srgbClr val="00AFEF"/>
              </a:buClr>
              <a:buFont typeface="Wingdings"/>
              <a:buChar char=""/>
              <a:tabLst>
                <a:tab pos="325959" algn="l"/>
              </a:tabLst>
            </a:pPr>
            <a:r>
              <a:rPr sz="2667" dirty="0">
                <a:solidFill>
                  <a:srgbClr val="4D4E5C"/>
                </a:solidFill>
                <a:latin typeface="Arial"/>
                <a:cs typeface="Arial"/>
              </a:rPr>
              <a:t>Perform Compile, unit test &amp; package the</a:t>
            </a:r>
            <a:r>
              <a:rPr sz="2667" spc="-220" dirty="0">
                <a:solidFill>
                  <a:srgbClr val="4D4E5C"/>
                </a:solidFill>
                <a:latin typeface="Arial"/>
                <a:cs typeface="Arial"/>
              </a:rPr>
              <a:t> </a:t>
            </a:r>
            <a:r>
              <a:rPr sz="2667" dirty="0">
                <a:solidFill>
                  <a:srgbClr val="4D4E5C"/>
                </a:solidFill>
                <a:latin typeface="Arial"/>
                <a:cs typeface="Arial"/>
              </a:rPr>
              <a:t>result</a:t>
            </a:r>
            <a:endParaRPr sz="2667">
              <a:latin typeface="Arial"/>
              <a:cs typeface="Arial"/>
            </a:endParaRPr>
          </a:p>
        </p:txBody>
      </p:sp>
    </p:spTree>
    <p:extLst>
      <p:ext uri="{BB962C8B-B14F-4D97-AF65-F5344CB8AC3E}">
        <p14:creationId xmlns:p14="http://schemas.microsoft.com/office/powerpoint/2010/main" val="269875954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923636" y="304355"/>
            <a:ext cx="7007818" cy="479618"/>
          </a:xfrm>
          <a:prstGeom prst="rect">
            <a:avLst/>
          </a:prstGeom>
        </p:spPr>
        <p:txBody>
          <a:bodyPr vert="horz" wrap="square" lIns="0" tIns="17780" rIns="0" bIns="0" numCol="1" rtlCol="0" anchor="t" anchorCtr="0" compatLnSpc="1">
            <a:prstTxWarp prst="textNoShape">
              <a:avLst/>
            </a:prstTxWarp>
            <a:spAutoFit/>
          </a:bodyPr>
          <a:lstStyle/>
          <a:p>
            <a:pPr marL="16933">
              <a:spcBef>
                <a:spcPts val="140"/>
              </a:spcBef>
            </a:pPr>
            <a:r>
              <a:rPr dirty="0"/>
              <a:t>Maven Project Creation &amp;</a:t>
            </a:r>
            <a:r>
              <a:rPr spc="-73" dirty="0"/>
              <a:t> </a:t>
            </a:r>
            <a:r>
              <a:rPr dirty="0"/>
              <a:t>Execution</a:t>
            </a:r>
          </a:p>
        </p:txBody>
      </p:sp>
      <p:sp>
        <p:nvSpPr>
          <p:cNvPr id="3" name="object 3"/>
          <p:cNvSpPr txBox="1"/>
          <p:nvPr/>
        </p:nvSpPr>
        <p:spPr>
          <a:xfrm>
            <a:off x="425230" y="889601"/>
            <a:ext cx="11183620" cy="4136431"/>
          </a:xfrm>
          <a:prstGeom prst="rect">
            <a:avLst/>
          </a:prstGeom>
        </p:spPr>
        <p:txBody>
          <a:bodyPr vert="horz" wrap="square" lIns="0" tIns="131233" rIns="0" bIns="0" rtlCol="0">
            <a:spAutoFit/>
          </a:bodyPr>
          <a:lstStyle/>
          <a:p>
            <a:pPr marL="474121" indent="-457189">
              <a:spcBef>
                <a:spcPts val="1033"/>
              </a:spcBef>
              <a:buClr>
                <a:srgbClr val="00AFEF"/>
              </a:buClr>
              <a:buAutoNum type="arabicPeriod"/>
              <a:tabLst>
                <a:tab pos="473275" algn="l"/>
                <a:tab pos="474121" algn="l"/>
              </a:tabLst>
            </a:pPr>
            <a:r>
              <a:rPr sz="2667" dirty="0">
                <a:solidFill>
                  <a:srgbClr val="4D4E5C"/>
                </a:solidFill>
                <a:latin typeface="Arial"/>
                <a:cs typeface="Arial"/>
              </a:rPr>
              <a:t>Create Maven</a:t>
            </a:r>
            <a:r>
              <a:rPr sz="2667" spc="-73" dirty="0">
                <a:solidFill>
                  <a:srgbClr val="4D4E5C"/>
                </a:solidFill>
                <a:latin typeface="Arial"/>
                <a:cs typeface="Arial"/>
              </a:rPr>
              <a:t> </a:t>
            </a:r>
            <a:r>
              <a:rPr sz="2667" dirty="0">
                <a:solidFill>
                  <a:srgbClr val="4D4E5C"/>
                </a:solidFill>
                <a:latin typeface="Arial"/>
                <a:cs typeface="Arial"/>
              </a:rPr>
              <a:t>Project</a:t>
            </a:r>
            <a:endParaRPr sz="2667">
              <a:latin typeface="Arial"/>
              <a:cs typeface="Arial"/>
            </a:endParaRPr>
          </a:p>
          <a:p>
            <a:pPr marL="988035" lvl="1" indent="-457189">
              <a:spcBef>
                <a:spcPts val="813"/>
              </a:spcBef>
              <a:buClr>
                <a:srgbClr val="00AFEF"/>
              </a:buClr>
              <a:buAutoNum type="alphaLcParenR"/>
              <a:tabLst>
                <a:tab pos="988035" algn="l"/>
                <a:tab pos="988882" algn="l"/>
              </a:tabLst>
            </a:pPr>
            <a:r>
              <a:rPr sz="2400" spc="-7" dirty="0">
                <a:solidFill>
                  <a:srgbClr val="4D4E5C"/>
                </a:solidFill>
                <a:latin typeface="Arial"/>
                <a:cs typeface="Arial"/>
              </a:rPr>
              <a:t>mvn </a:t>
            </a:r>
            <a:r>
              <a:rPr sz="2400" spc="-13" dirty="0">
                <a:solidFill>
                  <a:srgbClr val="4D4E5C"/>
                </a:solidFill>
                <a:latin typeface="Arial"/>
                <a:cs typeface="Arial"/>
              </a:rPr>
              <a:t>archetype:generate </a:t>
            </a:r>
            <a:r>
              <a:rPr sz="2400" spc="-7" dirty="0">
                <a:solidFill>
                  <a:srgbClr val="4D4E5C"/>
                </a:solidFill>
                <a:latin typeface="Arial"/>
                <a:cs typeface="Arial"/>
              </a:rPr>
              <a:t>-DgroupId=com.avitepa.FirstProject</a:t>
            </a:r>
            <a:r>
              <a:rPr sz="2400" spc="133" dirty="0">
                <a:solidFill>
                  <a:srgbClr val="4D4E5C"/>
                </a:solidFill>
                <a:latin typeface="Arial"/>
                <a:cs typeface="Arial"/>
              </a:rPr>
              <a:t> </a:t>
            </a:r>
            <a:r>
              <a:rPr sz="2400" dirty="0">
                <a:solidFill>
                  <a:srgbClr val="4D4E5C"/>
                </a:solidFill>
                <a:latin typeface="Arial"/>
                <a:cs typeface="Arial"/>
              </a:rPr>
              <a:t>-</a:t>
            </a:r>
            <a:endParaRPr sz="2400">
              <a:latin typeface="Arial"/>
              <a:cs typeface="Arial"/>
            </a:endParaRPr>
          </a:p>
          <a:p>
            <a:pPr marL="988035"/>
            <a:r>
              <a:rPr sz="2400" spc="-7" dirty="0">
                <a:solidFill>
                  <a:srgbClr val="4D4E5C"/>
                </a:solidFill>
                <a:latin typeface="Arial"/>
                <a:cs typeface="Arial"/>
              </a:rPr>
              <a:t>DartifactId=FirstProject -DarchetypeArtifactId=maven-archetype-quickstart</a:t>
            </a:r>
            <a:r>
              <a:rPr sz="2400" spc="253" dirty="0">
                <a:solidFill>
                  <a:srgbClr val="4D4E5C"/>
                </a:solidFill>
                <a:latin typeface="Arial"/>
                <a:cs typeface="Arial"/>
              </a:rPr>
              <a:t> </a:t>
            </a:r>
            <a:r>
              <a:rPr sz="2400" dirty="0">
                <a:solidFill>
                  <a:srgbClr val="4D4E5C"/>
                </a:solidFill>
                <a:latin typeface="Arial"/>
                <a:cs typeface="Arial"/>
              </a:rPr>
              <a:t>-</a:t>
            </a:r>
            <a:endParaRPr sz="2400">
              <a:latin typeface="Arial"/>
              <a:cs typeface="Arial"/>
            </a:endParaRPr>
          </a:p>
          <a:p>
            <a:pPr marL="988035"/>
            <a:r>
              <a:rPr sz="2400" spc="-7" dirty="0">
                <a:solidFill>
                  <a:srgbClr val="4D4E5C"/>
                </a:solidFill>
                <a:latin typeface="Arial"/>
                <a:cs typeface="Arial"/>
              </a:rPr>
              <a:t>DinteractiveMode=false</a:t>
            </a:r>
            <a:endParaRPr sz="2400">
              <a:latin typeface="Arial"/>
              <a:cs typeface="Arial"/>
            </a:endParaRPr>
          </a:p>
          <a:p>
            <a:pPr marL="988035" lvl="1" indent="-457189">
              <a:spcBef>
                <a:spcPts val="800"/>
              </a:spcBef>
              <a:buClr>
                <a:srgbClr val="00AFEF"/>
              </a:buClr>
              <a:buAutoNum type="alphaLcParenR" startAt="2"/>
              <a:tabLst>
                <a:tab pos="988035" algn="l"/>
                <a:tab pos="988882" algn="l"/>
              </a:tabLst>
            </a:pPr>
            <a:r>
              <a:rPr sz="2400" dirty="0">
                <a:solidFill>
                  <a:srgbClr val="4D4E5C"/>
                </a:solidFill>
                <a:latin typeface="Arial"/>
                <a:cs typeface="Arial"/>
              </a:rPr>
              <a:t>Go </a:t>
            </a:r>
            <a:r>
              <a:rPr sz="2400" spc="-7" dirty="0">
                <a:solidFill>
                  <a:srgbClr val="4D4E5C"/>
                </a:solidFill>
                <a:latin typeface="Arial"/>
                <a:cs typeface="Arial"/>
              </a:rPr>
              <a:t>through </a:t>
            </a:r>
            <a:r>
              <a:rPr sz="2400" dirty="0">
                <a:solidFill>
                  <a:srgbClr val="4D4E5C"/>
                </a:solidFill>
                <a:latin typeface="Arial"/>
                <a:cs typeface="Arial"/>
              </a:rPr>
              <a:t>the </a:t>
            </a:r>
            <a:r>
              <a:rPr sz="2400" spc="-7" dirty="0">
                <a:solidFill>
                  <a:srgbClr val="4D4E5C"/>
                </a:solidFill>
                <a:latin typeface="Arial"/>
                <a:cs typeface="Arial"/>
              </a:rPr>
              <a:t>generated</a:t>
            </a:r>
            <a:r>
              <a:rPr sz="2400" dirty="0">
                <a:solidFill>
                  <a:srgbClr val="4D4E5C"/>
                </a:solidFill>
                <a:latin typeface="Arial"/>
                <a:cs typeface="Arial"/>
              </a:rPr>
              <a:t> </a:t>
            </a:r>
            <a:r>
              <a:rPr sz="2400" spc="-7" dirty="0">
                <a:solidFill>
                  <a:srgbClr val="4D4E5C"/>
                </a:solidFill>
                <a:latin typeface="Arial"/>
                <a:cs typeface="Arial"/>
              </a:rPr>
              <a:t>project</a:t>
            </a:r>
            <a:endParaRPr sz="2400">
              <a:latin typeface="Arial"/>
              <a:cs typeface="Arial"/>
            </a:endParaRPr>
          </a:p>
          <a:p>
            <a:pPr marL="988035" lvl="1" indent="-457189">
              <a:spcBef>
                <a:spcPts val="807"/>
              </a:spcBef>
              <a:buClr>
                <a:srgbClr val="00AFEF"/>
              </a:buClr>
              <a:buAutoNum type="alphaLcParenR" startAt="2"/>
              <a:tabLst>
                <a:tab pos="988035" algn="l"/>
                <a:tab pos="988882" algn="l"/>
              </a:tabLst>
            </a:pPr>
            <a:r>
              <a:rPr sz="2400" dirty="0">
                <a:solidFill>
                  <a:srgbClr val="4D4E5C"/>
                </a:solidFill>
                <a:latin typeface="Arial"/>
                <a:cs typeface="Arial"/>
              </a:rPr>
              <a:t>Go </a:t>
            </a:r>
            <a:r>
              <a:rPr sz="2400" spc="-7" dirty="0">
                <a:solidFill>
                  <a:srgbClr val="4D4E5C"/>
                </a:solidFill>
                <a:latin typeface="Arial"/>
                <a:cs typeface="Arial"/>
              </a:rPr>
              <a:t>through </a:t>
            </a:r>
            <a:r>
              <a:rPr sz="2400" dirty="0">
                <a:solidFill>
                  <a:srgbClr val="4D4E5C"/>
                </a:solidFill>
                <a:latin typeface="Arial"/>
                <a:cs typeface="Arial"/>
              </a:rPr>
              <a:t>the </a:t>
            </a:r>
            <a:r>
              <a:rPr sz="2400" spc="-7" dirty="0">
                <a:solidFill>
                  <a:srgbClr val="4D4E5C"/>
                </a:solidFill>
                <a:latin typeface="Arial"/>
                <a:cs typeface="Arial"/>
              </a:rPr>
              <a:t>generated</a:t>
            </a:r>
            <a:r>
              <a:rPr sz="2400" dirty="0">
                <a:solidFill>
                  <a:srgbClr val="4D4E5C"/>
                </a:solidFill>
                <a:latin typeface="Arial"/>
                <a:cs typeface="Arial"/>
              </a:rPr>
              <a:t> POM</a:t>
            </a:r>
            <a:endParaRPr sz="2400">
              <a:latin typeface="Arial"/>
              <a:cs typeface="Arial"/>
            </a:endParaRPr>
          </a:p>
          <a:p>
            <a:pPr lvl="1">
              <a:spcBef>
                <a:spcPts val="20"/>
              </a:spcBef>
              <a:buClr>
                <a:srgbClr val="00AFEF"/>
              </a:buClr>
              <a:buFont typeface="Arial"/>
              <a:buAutoNum type="alphaLcParenR" startAt="2"/>
            </a:pPr>
            <a:endParaRPr sz="3867">
              <a:latin typeface="Times New Roman"/>
              <a:cs typeface="Times New Roman"/>
            </a:endParaRPr>
          </a:p>
          <a:p>
            <a:pPr marL="474121" indent="-457189">
              <a:buClr>
                <a:srgbClr val="00AFEF"/>
              </a:buClr>
              <a:buAutoNum type="arabicPeriod"/>
              <a:tabLst>
                <a:tab pos="473275" algn="l"/>
                <a:tab pos="474121" algn="l"/>
              </a:tabLst>
            </a:pPr>
            <a:r>
              <a:rPr sz="2667" dirty="0">
                <a:solidFill>
                  <a:srgbClr val="4D4E5C"/>
                </a:solidFill>
                <a:latin typeface="Arial"/>
                <a:cs typeface="Arial"/>
              </a:rPr>
              <a:t>Make Maven Project as an Eclipse</a:t>
            </a:r>
            <a:r>
              <a:rPr sz="2667" spc="-160" dirty="0">
                <a:solidFill>
                  <a:srgbClr val="4D4E5C"/>
                </a:solidFill>
                <a:latin typeface="Arial"/>
                <a:cs typeface="Arial"/>
              </a:rPr>
              <a:t> </a:t>
            </a:r>
            <a:r>
              <a:rPr sz="2667" dirty="0">
                <a:solidFill>
                  <a:srgbClr val="4D4E5C"/>
                </a:solidFill>
                <a:latin typeface="Arial"/>
                <a:cs typeface="Arial"/>
              </a:rPr>
              <a:t>project</a:t>
            </a:r>
            <a:endParaRPr sz="2667">
              <a:latin typeface="Arial"/>
              <a:cs typeface="Arial"/>
            </a:endParaRPr>
          </a:p>
          <a:p>
            <a:pPr marL="474121">
              <a:spcBef>
                <a:spcPts val="860"/>
              </a:spcBef>
            </a:pPr>
            <a:r>
              <a:rPr sz="2067" spc="13" dirty="0">
                <a:solidFill>
                  <a:srgbClr val="4D4E5C"/>
                </a:solidFill>
                <a:latin typeface="Arial"/>
                <a:cs typeface="Arial"/>
              </a:rPr>
              <a:t>Go </a:t>
            </a:r>
            <a:r>
              <a:rPr sz="2067" dirty="0">
                <a:solidFill>
                  <a:srgbClr val="4D4E5C"/>
                </a:solidFill>
                <a:latin typeface="Arial"/>
                <a:cs typeface="Arial"/>
              </a:rPr>
              <a:t>to </a:t>
            </a:r>
            <a:r>
              <a:rPr sz="2067" spc="7" dirty="0">
                <a:solidFill>
                  <a:srgbClr val="4D4E5C"/>
                </a:solidFill>
                <a:latin typeface="Arial"/>
                <a:cs typeface="Arial"/>
              </a:rPr>
              <a:t>the </a:t>
            </a:r>
            <a:r>
              <a:rPr sz="2067" spc="13" dirty="0">
                <a:solidFill>
                  <a:srgbClr val="4D4E5C"/>
                </a:solidFill>
                <a:latin typeface="Arial"/>
                <a:cs typeface="Arial"/>
              </a:rPr>
              <a:t>Project </a:t>
            </a:r>
            <a:r>
              <a:rPr sz="2067" spc="7" dirty="0">
                <a:solidFill>
                  <a:srgbClr val="4D4E5C"/>
                </a:solidFill>
                <a:latin typeface="Arial"/>
                <a:cs typeface="Arial"/>
              </a:rPr>
              <a:t>folder </a:t>
            </a:r>
            <a:r>
              <a:rPr sz="2067" spc="13" dirty="0">
                <a:solidFill>
                  <a:srgbClr val="4D4E5C"/>
                </a:solidFill>
                <a:latin typeface="Arial"/>
                <a:cs typeface="Arial"/>
              </a:rPr>
              <a:t>created </a:t>
            </a:r>
            <a:r>
              <a:rPr sz="2067" spc="7" dirty="0">
                <a:solidFill>
                  <a:srgbClr val="4D4E5C"/>
                </a:solidFill>
                <a:latin typeface="Arial"/>
                <a:cs typeface="Arial"/>
              </a:rPr>
              <a:t>in the </a:t>
            </a:r>
            <a:r>
              <a:rPr sz="2067" spc="13" dirty="0">
                <a:solidFill>
                  <a:srgbClr val="4D4E5C"/>
                </a:solidFill>
                <a:latin typeface="Arial"/>
                <a:cs typeface="Arial"/>
              </a:rPr>
              <a:t>above </a:t>
            </a:r>
            <a:r>
              <a:rPr sz="2067" spc="7" dirty="0">
                <a:solidFill>
                  <a:srgbClr val="4D4E5C"/>
                </a:solidFill>
                <a:latin typeface="Arial"/>
                <a:cs typeface="Arial"/>
              </a:rPr>
              <a:t>step </a:t>
            </a:r>
            <a:r>
              <a:rPr sz="2067" spc="13" dirty="0">
                <a:solidFill>
                  <a:srgbClr val="4D4E5C"/>
                </a:solidFill>
                <a:latin typeface="Arial"/>
                <a:cs typeface="Arial"/>
              </a:rPr>
              <a:t>&amp; then run </a:t>
            </a:r>
            <a:r>
              <a:rPr sz="2067" spc="7" dirty="0">
                <a:solidFill>
                  <a:srgbClr val="4D4E5C"/>
                </a:solidFill>
                <a:latin typeface="Arial"/>
                <a:cs typeface="Arial"/>
              </a:rPr>
              <a:t>- </a:t>
            </a:r>
            <a:r>
              <a:rPr sz="2067" spc="20" dirty="0">
                <a:solidFill>
                  <a:srgbClr val="4D4E5C"/>
                </a:solidFill>
                <a:latin typeface="Arial"/>
                <a:cs typeface="Arial"/>
              </a:rPr>
              <a:t>mvn</a:t>
            </a:r>
            <a:r>
              <a:rPr sz="2067" spc="60" dirty="0">
                <a:solidFill>
                  <a:srgbClr val="4D4E5C"/>
                </a:solidFill>
                <a:latin typeface="Arial"/>
                <a:cs typeface="Arial"/>
              </a:rPr>
              <a:t> </a:t>
            </a:r>
            <a:r>
              <a:rPr sz="2067" spc="7" dirty="0">
                <a:solidFill>
                  <a:srgbClr val="4D4E5C"/>
                </a:solidFill>
                <a:latin typeface="Arial"/>
                <a:cs typeface="Arial"/>
              </a:rPr>
              <a:t>eclipse:eclipse</a:t>
            </a:r>
            <a:endParaRPr sz="2067">
              <a:latin typeface="Arial"/>
              <a:cs typeface="Arial"/>
            </a:endParaRPr>
          </a:p>
        </p:txBody>
      </p:sp>
      <p:sp>
        <p:nvSpPr>
          <p:cNvPr id="4" name="object 4"/>
          <p:cNvSpPr txBox="1"/>
          <p:nvPr/>
        </p:nvSpPr>
        <p:spPr>
          <a:xfrm>
            <a:off x="7798815" y="5123520"/>
            <a:ext cx="2604347" cy="294953"/>
          </a:xfrm>
          <a:prstGeom prst="rect">
            <a:avLst/>
          </a:prstGeom>
        </p:spPr>
        <p:txBody>
          <a:bodyPr vert="horz" wrap="square" lIns="0" tIns="17780" rIns="0" bIns="0" rtlCol="0">
            <a:spAutoFit/>
          </a:bodyPr>
          <a:lstStyle/>
          <a:p>
            <a:pPr marL="16933">
              <a:spcBef>
                <a:spcPts val="140"/>
              </a:spcBef>
            </a:pPr>
            <a:r>
              <a:rPr dirty="0">
                <a:latin typeface="Arial"/>
                <a:cs typeface="Arial"/>
              </a:rPr>
              <a:t>site/clean, clean</a:t>
            </a:r>
            <a:r>
              <a:rPr spc="-152" dirty="0">
                <a:latin typeface="Arial"/>
                <a:cs typeface="Arial"/>
              </a:rPr>
              <a:t> </a:t>
            </a:r>
            <a:r>
              <a:rPr dirty="0">
                <a:latin typeface="Arial"/>
                <a:cs typeface="Arial"/>
              </a:rPr>
              <a:t>package</a:t>
            </a:r>
            <a:endParaRPr>
              <a:latin typeface="Arial"/>
              <a:cs typeface="Arial"/>
            </a:endParaRPr>
          </a:p>
        </p:txBody>
      </p:sp>
    </p:spTree>
    <p:extLst>
      <p:ext uri="{BB962C8B-B14F-4D97-AF65-F5344CB8AC3E}">
        <p14:creationId xmlns:p14="http://schemas.microsoft.com/office/powerpoint/2010/main" val="21044820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849745" y="307002"/>
            <a:ext cx="8663130" cy="479618"/>
          </a:xfrm>
          <a:prstGeom prst="rect">
            <a:avLst/>
          </a:prstGeom>
        </p:spPr>
        <p:txBody>
          <a:bodyPr vert="horz" wrap="square" lIns="0" tIns="17780" rIns="0" bIns="0" numCol="1" rtlCol="0" anchor="t" anchorCtr="0" compatLnSpc="1">
            <a:prstTxWarp prst="textNoShape">
              <a:avLst/>
            </a:prstTxWarp>
            <a:spAutoFit/>
          </a:bodyPr>
          <a:lstStyle/>
          <a:p>
            <a:pPr marL="16933">
              <a:spcBef>
                <a:spcPts val="140"/>
              </a:spcBef>
            </a:pPr>
            <a:r>
              <a:rPr dirty="0"/>
              <a:t>Maven Project Creation &amp; Execution</a:t>
            </a:r>
            <a:r>
              <a:rPr spc="-93" dirty="0"/>
              <a:t> </a:t>
            </a:r>
            <a:r>
              <a:rPr dirty="0"/>
              <a:t>contd..</a:t>
            </a:r>
          </a:p>
        </p:txBody>
      </p:sp>
      <p:sp>
        <p:nvSpPr>
          <p:cNvPr id="3" name="object 3"/>
          <p:cNvSpPr txBox="1"/>
          <p:nvPr/>
        </p:nvSpPr>
        <p:spPr>
          <a:xfrm>
            <a:off x="1574528" y="905244"/>
            <a:ext cx="4079240" cy="5334409"/>
          </a:xfrm>
          <a:prstGeom prst="rect">
            <a:avLst/>
          </a:prstGeom>
        </p:spPr>
        <p:txBody>
          <a:bodyPr vert="horz" wrap="square" lIns="0" tIns="83820" rIns="0" bIns="0" rtlCol="0">
            <a:spAutoFit/>
          </a:bodyPr>
          <a:lstStyle/>
          <a:p>
            <a:pPr marL="325112" indent="-308179">
              <a:spcBef>
                <a:spcPts val="660"/>
              </a:spcBef>
              <a:buClr>
                <a:srgbClr val="00AFEF"/>
              </a:buClr>
              <a:buFont typeface="Wingdings"/>
              <a:buChar char=""/>
              <a:tabLst>
                <a:tab pos="325112" algn="l"/>
                <a:tab pos="325959" algn="l"/>
              </a:tabLst>
            </a:pPr>
            <a:r>
              <a:rPr sz="1733" spc="-7" dirty="0">
                <a:solidFill>
                  <a:srgbClr val="4D4E5C"/>
                </a:solidFill>
                <a:latin typeface="Arial"/>
                <a:cs typeface="Arial"/>
              </a:rPr>
              <a:t>Compile </a:t>
            </a:r>
            <a:r>
              <a:rPr sz="1733" spc="-13" dirty="0">
                <a:solidFill>
                  <a:srgbClr val="4D4E5C"/>
                </a:solidFill>
                <a:latin typeface="Arial"/>
                <a:cs typeface="Arial"/>
              </a:rPr>
              <a:t>your</a:t>
            </a:r>
            <a:r>
              <a:rPr sz="1733" spc="60" dirty="0">
                <a:solidFill>
                  <a:srgbClr val="4D4E5C"/>
                </a:solidFill>
                <a:latin typeface="Arial"/>
                <a:cs typeface="Arial"/>
              </a:rPr>
              <a:t> </a:t>
            </a:r>
            <a:r>
              <a:rPr sz="1733" spc="-7" dirty="0">
                <a:solidFill>
                  <a:srgbClr val="4D4E5C"/>
                </a:solidFill>
                <a:latin typeface="Arial"/>
                <a:cs typeface="Arial"/>
              </a:rPr>
              <a:t>sources</a:t>
            </a:r>
            <a:endParaRPr sz="1733" dirty="0">
              <a:latin typeface="Arial"/>
              <a:cs typeface="Arial"/>
            </a:endParaRPr>
          </a:p>
          <a:p>
            <a:pPr marL="1008355" lvl="1" indent="-382684">
              <a:spcBef>
                <a:spcPts val="460"/>
              </a:spcBef>
              <a:buClr>
                <a:srgbClr val="00AFEF"/>
              </a:buClr>
              <a:buFont typeface="Wingdings"/>
              <a:buChar char=""/>
              <a:tabLst>
                <a:tab pos="1008355" algn="l"/>
                <a:tab pos="1009201" algn="l"/>
              </a:tabLst>
            </a:pPr>
            <a:r>
              <a:rPr sz="1467" spc="-7" dirty="0">
                <a:solidFill>
                  <a:srgbClr val="4D4E5C"/>
                </a:solidFill>
                <a:latin typeface="Arial"/>
                <a:cs typeface="Arial"/>
              </a:rPr>
              <a:t>mvn</a:t>
            </a:r>
            <a:r>
              <a:rPr sz="1467" spc="-20" dirty="0">
                <a:solidFill>
                  <a:srgbClr val="4D4E5C"/>
                </a:solidFill>
                <a:latin typeface="Arial"/>
                <a:cs typeface="Arial"/>
              </a:rPr>
              <a:t> </a:t>
            </a:r>
            <a:r>
              <a:rPr sz="1467" spc="-7" dirty="0">
                <a:solidFill>
                  <a:srgbClr val="4D4E5C"/>
                </a:solidFill>
                <a:latin typeface="Arial"/>
                <a:cs typeface="Arial"/>
              </a:rPr>
              <a:t>compile</a:t>
            </a:r>
            <a:endParaRPr sz="1467" dirty="0">
              <a:latin typeface="Arial"/>
              <a:cs typeface="Arial"/>
            </a:endParaRPr>
          </a:p>
          <a:p>
            <a:pPr marL="386070" indent="-369137">
              <a:spcBef>
                <a:spcPts val="373"/>
              </a:spcBef>
              <a:buClr>
                <a:srgbClr val="00AFEF"/>
              </a:buClr>
              <a:buFont typeface="Wingdings"/>
              <a:buChar char=""/>
              <a:tabLst>
                <a:tab pos="386070" algn="l"/>
                <a:tab pos="386917" algn="l"/>
              </a:tabLst>
            </a:pPr>
            <a:r>
              <a:rPr sz="1733" spc="-7" dirty="0">
                <a:solidFill>
                  <a:srgbClr val="4D4E5C"/>
                </a:solidFill>
                <a:latin typeface="Arial"/>
                <a:cs typeface="Arial"/>
              </a:rPr>
              <a:t>Create a JAR</a:t>
            </a:r>
            <a:r>
              <a:rPr sz="1733" spc="20" dirty="0">
                <a:solidFill>
                  <a:srgbClr val="4D4E5C"/>
                </a:solidFill>
                <a:latin typeface="Arial"/>
                <a:cs typeface="Arial"/>
              </a:rPr>
              <a:t> </a:t>
            </a:r>
            <a:r>
              <a:rPr sz="1733" spc="-7" dirty="0">
                <a:solidFill>
                  <a:srgbClr val="4D4E5C"/>
                </a:solidFill>
                <a:latin typeface="Arial"/>
                <a:cs typeface="Arial"/>
              </a:rPr>
              <a:t>file</a:t>
            </a:r>
            <a:endParaRPr sz="1733" dirty="0">
              <a:latin typeface="Arial"/>
              <a:cs typeface="Arial"/>
            </a:endParaRPr>
          </a:p>
          <a:p>
            <a:pPr marL="1008355" lvl="1" indent="-382684">
              <a:spcBef>
                <a:spcPts val="460"/>
              </a:spcBef>
              <a:buClr>
                <a:srgbClr val="00AFEF"/>
              </a:buClr>
              <a:buFont typeface="Wingdings"/>
              <a:buChar char=""/>
              <a:tabLst>
                <a:tab pos="1008355" algn="l"/>
                <a:tab pos="1009201" algn="l"/>
              </a:tabLst>
            </a:pPr>
            <a:r>
              <a:rPr sz="1467" spc="-7" dirty="0">
                <a:solidFill>
                  <a:srgbClr val="4D4E5C"/>
                </a:solidFill>
                <a:latin typeface="Arial"/>
                <a:cs typeface="Arial"/>
              </a:rPr>
              <a:t>mvn</a:t>
            </a:r>
            <a:r>
              <a:rPr sz="1467" spc="-20" dirty="0">
                <a:solidFill>
                  <a:srgbClr val="4D4E5C"/>
                </a:solidFill>
                <a:latin typeface="Arial"/>
                <a:cs typeface="Arial"/>
              </a:rPr>
              <a:t> </a:t>
            </a:r>
            <a:r>
              <a:rPr sz="1467" dirty="0">
                <a:solidFill>
                  <a:srgbClr val="4D4E5C"/>
                </a:solidFill>
                <a:latin typeface="Arial"/>
                <a:cs typeface="Arial"/>
              </a:rPr>
              <a:t>package</a:t>
            </a:r>
            <a:endParaRPr sz="1467" dirty="0">
              <a:latin typeface="Arial"/>
              <a:cs typeface="Arial"/>
            </a:endParaRPr>
          </a:p>
          <a:p>
            <a:pPr marL="325112" indent="-308179">
              <a:spcBef>
                <a:spcPts val="373"/>
              </a:spcBef>
              <a:buClr>
                <a:srgbClr val="00AFEF"/>
              </a:buClr>
              <a:buFont typeface="Wingdings"/>
              <a:buChar char=""/>
              <a:tabLst>
                <a:tab pos="325112" algn="l"/>
                <a:tab pos="325959" algn="l"/>
              </a:tabLst>
            </a:pPr>
            <a:r>
              <a:rPr sz="1733" spc="-7" dirty="0">
                <a:solidFill>
                  <a:srgbClr val="4D4E5C"/>
                </a:solidFill>
                <a:latin typeface="Arial"/>
                <a:cs typeface="Arial"/>
              </a:rPr>
              <a:t>Run the</a:t>
            </a:r>
            <a:r>
              <a:rPr sz="1733" spc="13" dirty="0">
                <a:solidFill>
                  <a:srgbClr val="4D4E5C"/>
                </a:solidFill>
                <a:latin typeface="Arial"/>
                <a:cs typeface="Arial"/>
              </a:rPr>
              <a:t> </a:t>
            </a:r>
            <a:r>
              <a:rPr sz="1733" spc="-7" dirty="0">
                <a:solidFill>
                  <a:srgbClr val="4D4E5C"/>
                </a:solidFill>
                <a:latin typeface="Arial"/>
                <a:cs typeface="Arial"/>
              </a:rPr>
              <a:t>program</a:t>
            </a:r>
            <a:endParaRPr sz="1733" dirty="0">
              <a:latin typeface="Arial"/>
              <a:cs typeface="Arial"/>
            </a:endParaRPr>
          </a:p>
          <a:p>
            <a:pPr marL="1008355" marR="311564" lvl="1" indent="-382684">
              <a:lnSpc>
                <a:spcPct val="80000"/>
              </a:lnSpc>
              <a:spcBef>
                <a:spcPts val="813"/>
              </a:spcBef>
              <a:buClr>
                <a:srgbClr val="00AFEF"/>
              </a:buClr>
              <a:buFont typeface="Wingdings"/>
              <a:buChar char=""/>
              <a:tabLst>
                <a:tab pos="1008355" algn="l"/>
                <a:tab pos="1009201" algn="l"/>
              </a:tabLst>
            </a:pPr>
            <a:r>
              <a:rPr sz="1467" spc="-7" dirty="0">
                <a:solidFill>
                  <a:srgbClr val="4D4E5C"/>
                </a:solidFill>
                <a:latin typeface="Arial"/>
                <a:cs typeface="Arial"/>
              </a:rPr>
              <a:t>..\FirstProject\target\classes&gt;java  com.avitepa.FirstProject.App</a:t>
            </a:r>
            <a:endParaRPr sz="1467" dirty="0">
              <a:latin typeface="Arial"/>
              <a:cs typeface="Arial"/>
            </a:endParaRPr>
          </a:p>
          <a:p>
            <a:pPr marL="625671">
              <a:spcBef>
                <a:spcPts val="373"/>
              </a:spcBef>
            </a:pPr>
            <a:r>
              <a:rPr sz="1733" spc="-7" dirty="0">
                <a:solidFill>
                  <a:srgbClr val="4D4E5C"/>
                </a:solidFill>
                <a:latin typeface="Arial"/>
                <a:cs typeface="Arial"/>
              </a:rPr>
              <a:t>Hello</a:t>
            </a:r>
            <a:r>
              <a:rPr sz="1733" dirty="0">
                <a:solidFill>
                  <a:srgbClr val="4D4E5C"/>
                </a:solidFill>
                <a:latin typeface="Arial"/>
                <a:cs typeface="Arial"/>
              </a:rPr>
              <a:t> </a:t>
            </a:r>
            <a:r>
              <a:rPr sz="1733" spc="-7" dirty="0">
                <a:solidFill>
                  <a:srgbClr val="4D4E5C"/>
                </a:solidFill>
                <a:latin typeface="Arial"/>
                <a:cs typeface="Arial"/>
              </a:rPr>
              <a:t>World!</a:t>
            </a:r>
            <a:endParaRPr sz="1733" dirty="0">
              <a:latin typeface="Arial"/>
              <a:cs typeface="Arial"/>
            </a:endParaRPr>
          </a:p>
          <a:p>
            <a:pPr marL="325112" indent="-308179">
              <a:spcBef>
                <a:spcPts val="387"/>
              </a:spcBef>
              <a:buClr>
                <a:srgbClr val="00AFEF"/>
              </a:buClr>
              <a:buFont typeface="Wingdings"/>
              <a:buChar char=""/>
              <a:tabLst>
                <a:tab pos="325112" algn="l"/>
                <a:tab pos="325959" algn="l"/>
              </a:tabLst>
            </a:pPr>
            <a:r>
              <a:rPr sz="1733" spc="-7" dirty="0">
                <a:solidFill>
                  <a:srgbClr val="4D4E5C"/>
                </a:solidFill>
                <a:latin typeface="Arial"/>
                <a:cs typeface="Arial"/>
              </a:rPr>
              <a:t>Clean the project by removing all</a:t>
            </a:r>
            <a:r>
              <a:rPr sz="1733" spc="113" dirty="0">
                <a:solidFill>
                  <a:srgbClr val="4D4E5C"/>
                </a:solidFill>
                <a:latin typeface="Arial"/>
                <a:cs typeface="Arial"/>
              </a:rPr>
              <a:t> </a:t>
            </a:r>
            <a:r>
              <a:rPr sz="1733" spc="-7" dirty="0">
                <a:solidFill>
                  <a:srgbClr val="4D4E5C"/>
                </a:solidFill>
                <a:latin typeface="Arial"/>
                <a:cs typeface="Arial"/>
              </a:rPr>
              <a:t>build</a:t>
            </a:r>
            <a:endParaRPr sz="1733" dirty="0">
              <a:latin typeface="Arial"/>
              <a:cs typeface="Arial"/>
            </a:endParaRPr>
          </a:p>
          <a:p>
            <a:pPr marL="1008355" lvl="1" indent="-382684">
              <a:spcBef>
                <a:spcPts val="460"/>
              </a:spcBef>
              <a:buClr>
                <a:srgbClr val="00AFEF"/>
              </a:buClr>
              <a:buFont typeface="Wingdings"/>
              <a:buChar char=""/>
              <a:tabLst>
                <a:tab pos="1008355" algn="l"/>
                <a:tab pos="1009201" algn="l"/>
              </a:tabLst>
            </a:pPr>
            <a:r>
              <a:rPr sz="1467" spc="-7" dirty="0">
                <a:solidFill>
                  <a:srgbClr val="4D4E5C"/>
                </a:solidFill>
                <a:latin typeface="Arial"/>
                <a:cs typeface="Arial"/>
              </a:rPr>
              <a:t>mvn</a:t>
            </a:r>
            <a:r>
              <a:rPr sz="1467" spc="-20" dirty="0">
                <a:solidFill>
                  <a:srgbClr val="4D4E5C"/>
                </a:solidFill>
                <a:latin typeface="Arial"/>
                <a:cs typeface="Arial"/>
              </a:rPr>
              <a:t> </a:t>
            </a:r>
            <a:r>
              <a:rPr sz="1467" spc="-7" dirty="0">
                <a:solidFill>
                  <a:srgbClr val="4D4E5C"/>
                </a:solidFill>
                <a:latin typeface="Arial"/>
                <a:cs typeface="Arial"/>
              </a:rPr>
              <a:t>clean</a:t>
            </a:r>
            <a:endParaRPr sz="1467" dirty="0">
              <a:latin typeface="Arial"/>
              <a:cs typeface="Arial"/>
            </a:endParaRPr>
          </a:p>
          <a:p>
            <a:pPr marL="1008355" lvl="1" indent="-382684">
              <a:spcBef>
                <a:spcPts val="447"/>
              </a:spcBef>
              <a:buClr>
                <a:srgbClr val="00AFEF"/>
              </a:buClr>
              <a:buFont typeface="Wingdings"/>
              <a:buChar char=""/>
              <a:tabLst>
                <a:tab pos="1008355" algn="l"/>
                <a:tab pos="1009201" algn="l"/>
              </a:tabLst>
            </a:pPr>
            <a:r>
              <a:rPr sz="1467" spc="-7" dirty="0">
                <a:solidFill>
                  <a:srgbClr val="4D4E5C"/>
                </a:solidFill>
                <a:latin typeface="Arial"/>
                <a:cs typeface="Arial"/>
              </a:rPr>
              <a:t>Note: </a:t>
            </a:r>
            <a:r>
              <a:rPr sz="1467" dirty="0">
                <a:solidFill>
                  <a:srgbClr val="4D4E5C"/>
                </a:solidFill>
                <a:latin typeface="Arial"/>
                <a:cs typeface="Arial"/>
              </a:rPr>
              <a:t>Invokes just</a:t>
            </a:r>
            <a:r>
              <a:rPr sz="1467" spc="-87" dirty="0">
                <a:solidFill>
                  <a:srgbClr val="4D4E5C"/>
                </a:solidFill>
                <a:latin typeface="Arial"/>
                <a:cs typeface="Arial"/>
              </a:rPr>
              <a:t> </a:t>
            </a:r>
            <a:r>
              <a:rPr sz="1467" spc="-7" dirty="0">
                <a:solidFill>
                  <a:srgbClr val="4D4E5C"/>
                </a:solidFill>
                <a:latin typeface="Arial"/>
                <a:cs typeface="Arial"/>
              </a:rPr>
              <a:t>clean</a:t>
            </a:r>
            <a:endParaRPr sz="1467" dirty="0">
              <a:latin typeface="Arial"/>
              <a:cs typeface="Arial"/>
            </a:endParaRPr>
          </a:p>
          <a:p>
            <a:pPr marL="325112" indent="-308179">
              <a:spcBef>
                <a:spcPts val="373"/>
              </a:spcBef>
              <a:buClr>
                <a:srgbClr val="00AFEF"/>
              </a:buClr>
              <a:buFont typeface="Wingdings"/>
              <a:buChar char=""/>
              <a:tabLst>
                <a:tab pos="325112" algn="l"/>
                <a:tab pos="325959" algn="l"/>
              </a:tabLst>
            </a:pPr>
            <a:r>
              <a:rPr sz="1733" spc="-7" dirty="0">
                <a:solidFill>
                  <a:srgbClr val="4D4E5C"/>
                </a:solidFill>
                <a:latin typeface="Arial"/>
                <a:cs typeface="Arial"/>
              </a:rPr>
              <a:t>Rebuild</a:t>
            </a:r>
            <a:endParaRPr sz="1733" dirty="0">
              <a:latin typeface="Arial"/>
              <a:cs typeface="Arial"/>
            </a:endParaRPr>
          </a:p>
          <a:p>
            <a:pPr marL="1008355" lvl="1" indent="-382684">
              <a:spcBef>
                <a:spcPts val="460"/>
              </a:spcBef>
              <a:buClr>
                <a:srgbClr val="00AFEF"/>
              </a:buClr>
              <a:buFont typeface="Wingdings"/>
              <a:buChar char=""/>
              <a:tabLst>
                <a:tab pos="1008355" algn="l"/>
                <a:tab pos="1009201" algn="l"/>
              </a:tabLst>
            </a:pPr>
            <a:r>
              <a:rPr sz="1467" spc="-7" dirty="0">
                <a:solidFill>
                  <a:srgbClr val="4D4E5C"/>
                </a:solidFill>
                <a:latin typeface="Arial"/>
                <a:cs typeface="Arial"/>
              </a:rPr>
              <a:t>mvn</a:t>
            </a:r>
            <a:r>
              <a:rPr sz="1467" spc="-20" dirty="0">
                <a:solidFill>
                  <a:srgbClr val="4D4E5C"/>
                </a:solidFill>
                <a:latin typeface="Arial"/>
                <a:cs typeface="Arial"/>
              </a:rPr>
              <a:t> </a:t>
            </a:r>
            <a:r>
              <a:rPr sz="1467" dirty="0">
                <a:solidFill>
                  <a:srgbClr val="4D4E5C"/>
                </a:solidFill>
                <a:latin typeface="Arial"/>
                <a:cs typeface="Arial"/>
              </a:rPr>
              <a:t>package</a:t>
            </a:r>
            <a:endParaRPr sz="1467" dirty="0">
              <a:latin typeface="Arial"/>
              <a:cs typeface="Arial"/>
            </a:endParaRPr>
          </a:p>
          <a:p>
            <a:pPr marL="1008355" lvl="1" indent="-382684">
              <a:spcBef>
                <a:spcPts val="447"/>
              </a:spcBef>
              <a:buClr>
                <a:srgbClr val="00AFEF"/>
              </a:buClr>
              <a:buFont typeface="Wingdings"/>
              <a:buChar char=""/>
              <a:tabLst>
                <a:tab pos="1008355" algn="l"/>
                <a:tab pos="1009201" algn="l"/>
              </a:tabLst>
            </a:pPr>
            <a:r>
              <a:rPr sz="1467" spc="-13" dirty="0">
                <a:solidFill>
                  <a:srgbClr val="4D4E5C"/>
                </a:solidFill>
                <a:latin typeface="Arial"/>
                <a:cs typeface="Arial"/>
              </a:rPr>
              <a:t>Mvn </a:t>
            </a:r>
            <a:r>
              <a:rPr sz="1467" spc="-7" dirty="0">
                <a:solidFill>
                  <a:srgbClr val="4D4E5C"/>
                </a:solidFill>
                <a:latin typeface="Arial"/>
                <a:cs typeface="Arial"/>
              </a:rPr>
              <a:t>clean</a:t>
            </a:r>
            <a:r>
              <a:rPr sz="1467" spc="27" dirty="0">
                <a:solidFill>
                  <a:srgbClr val="4D4E5C"/>
                </a:solidFill>
                <a:latin typeface="Arial"/>
                <a:cs typeface="Arial"/>
              </a:rPr>
              <a:t> </a:t>
            </a:r>
            <a:r>
              <a:rPr sz="1467" dirty="0">
                <a:solidFill>
                  <a:srgbClr val="4D4E5C"/>
                </a:solidFill>
                <a:latin typeface="Arial"/>
                <a:cs typeface="Arial"/>
              </a:rPr>
              <a:t>package</a:t>
            </a:r>
            <a:endParaRPr sz="1467" dirty="0">
              <a:latin typeface="Arial"/>
              <a:cs typeface="Arial"/>
            </a:endParaRPr>
          </a:p>
          <a:p>
            <a:pPr marL="386070" indent="-369137">
              <a:spcBef>
                <a:spcPts val="373"/>
              </a:spcBef>
              <a:buClr>
                <a:srgbClr val="00AFEF"/>
              </a:buClr>
              <a:buFont typeface="Wingdings"/>
              <a:buChar char=""/>
              <a:tabLst>
                <a:tab pos="386070" algn="l"/>
                <a:tab pos="386917" algn="l"/>
              </a:tabLst>
            </a:pPr>
            <a:r>
              <a:rPr sz="1733" spc="-7" dirty="0">
                <a:solidFill>
                  <a:srgbClr val="4D4E5C"/>
                </a:solidFill>
                <a:latin typeface="Arial"/>
                <a:cs typeface="Arial"/>
              </a:rPr>
              <a:t>Running the</a:t>
            </a:r>
            <a:r>
              <a:rPr sz="1733" spc="40" dirty="0">
                <a:solidFill>
                  <a:srgbClr val="4D4E5C"/>
                </a:solidFill>
                <a:latin typeface="Arial"/>
                <a:cs typeface="Arial"/>
              </a:rPr>
              <a:t> </a:t>
            </a:r>
            <a:r>
              <a:rPr sz="1733" spc="-7" dirty="0">
                <a:solidFill>
                  <a:srgbClr val="4D4E5C"/>
                </a:solidFill>
                <a:latin typeface="Arial"/>
                <a:cs typeface="Arial"/>
              </a:rPr>
              <a:t>test</a:t>
            </a:r>
            <a:endParaRPr sz="1733" dirty="0">
              <a:latin typeface="Arial"/>
              <a:cs typeface="Arial"/>
            </a:endParaRPr>
          </a:p>
          <a:p>
            <a:pPr marL="1008355" lvl="1" indent="-382684">
              <a:spcBef>
                <a:spcPts val="460"/>
              </a:spcBef>
              <a:buClr>
                <a:srgbClr val="00AFEF"/>
              </a:buClr>
              <a:buFont typeface="Wingdings"/>
              <a:buChar char=""/>
              <a:tabLst>
                <a:tab pos="1008355" algn="l"/>
                <a:tab pos="1009201" algn="l"/>
              </a:tabLst>
            </a:pPr>
            <a:r>
              <a:rPr sz="1467" spc="-7" dirty="0">
                <a:solidFill>
                  <a:srgbClr val="4D4E5C"/>
                </a:solidFill>
                <a:latin typeface="Arial"/>
                <a:cs typeface="Arial"/>
              </a:rPr>
              <a:t>mvn</a:t>
            </a:r>
            <a:r>
              <a:rPr sz="1467" spc="-20" dirty="0">
                <a:solidFill>
                  <a:srgbClr val="4D4E5C"/>
                </a:solidFill>
                <a:latin typeface="Arial"/>
                <a:cs typeface="Arial"/>
              </a:rPr>
              <a:t> </a:t>
            </a:r>
            <a:r>
              <a:rPr sz="1467" dirty="0">
                <a:solidFill>
                  <a:srgbClr val="4D4E5C"/>
                </a:solidFill>
                <a:latin typeface="Arial"/>
                <a:cs typeface="Arial"/>
              </a:rPr>
              <a:t>test</a:t>
            </a:r>
            <a:endParaRPr sz="1467" dirty="0">
              <a:latin typeface="Arial"/>
              <a:cs typeface="Arial"/>
            </a:endParaRPr>
          </a:p>
          <a:p>
            <a:pPr marL="325112" indent="-308179">
              <a:spcBef>
                <a:spcPts val="373"/>
              </a:spcBef>
              <a:buClr>
                <a:srgbClr val="00AFEF"/>
              </a:buClr>
              <a:buFont typeface="Wingdings"/>
              <a:buChar char=""/>
              <a:tabLst>
                <a:tab pos="325112" algn="l"/>
                <a:tab pos="325959" algn="l"/>
              </a:tabLst>
            </a:pPr>
            <a:r>
              <a:rPr sz="1733" spc="-7" dirty="0">
                <a:solidFill>
                  <a:srgbClr val="4D4E5C"/>
                </a:solidFill>
                <a:latin typeface="Arial"/>
                <a:cs typeface="Arial"/>
              </a:rPr>
              <a:t>Create a</a:t>
            </a:r>
            <a:r>
              <a:rPr sz="1733" spc="27" dirty="0">
                <a:solidFill>
                  <a:srgbClr val="4D4E5C"/>
                </a:solidFill>
                <a:latin typeface="Arial"/>
                <a:cs typeface="Arial"/>
              </a:rPr>
              <a:t> </a:t>
            </a:r>
            <a:r>
              <a:rPr sz="1733" spc="-7" dirty="0">
                <a:solidFill>
                  <a:srgbClr val="4D4E5C"/>
                </a:solidFill>
                <a:latin typeface="Arial"/>
                <a:cs typeface="Arial"/>
              </a:rPr>
              <a:t>report</a:t>
            </a:r>
            <a:endParaRPr sz="1733" dirty="0">
              <a:latin typeface="Arial"/>
              <a:cs typeface="Arial"/>
            </a:endParaRPr>
          </a:p>
          <a:p>
            <a:pPr marL="1008355" lvl="1" indent="-382684">
              <a:spcBef>
                <a:spcPts val="460"/>
              </a:spcBef>
              <a:buClr>
                <a:srgbClr val="00AFEF"/>
              </a:buClr>
              <a:buFont typeface="Wingdings"/>
              <a:buChar char=""/>
              <a:tabLst>
                <a:tab pos="1008355" algn="l"/>
                <a:tab pos="1009201" algn="l"/>
              </a:tabLst>
            </a:pPr>
            <a:r>
              <a:rPr sz="1467" spc="-13" dirty="0">
                <a:solidFill>
                  <a:srgbClr val="4D4E5C"/>
                </a:solidFill>
                <a:latin typeface="Arial"/>
                <a:cs typeface="Arial"/>
              </a:rPr>
              <a:t>Mvn</a:t>
            </a:r>
            <a:r>
              <a:rPr sz="1467" spc="13" dirty="0">
                <a:solidFill>
                  <a:srgbClr val="4D4E5C"/>
                </a:solidFill>
                <a:latin typeface="Arial"/>
                <a:cs typeface="Arial"/>
              </a:rPr>
              <a:t> </a:t>
            </a:r>
            <a:r>
              <a:rPr sz="1467" spc="-7" dirty="0">
                <a:solidFill>
                  <a:srgbClr val="4D4E5C"/>
                </a:solidFill>
                <a:latin typeface="Arial"/>
                <a:cs typeface="Arial"/>
              </a:rPr>
              <a:t>site</a:t>
            </a:r>
            <a:endParaRPr sz="1467" dirty="0">
              <a:latin typeface="Arial"/>
              <a:cs typeface="Arial"/>
            </a:endParaRPr>
          </a:p>
        </p:txBody>
      </p:sp>
      <p:sp>
        <p:nvSpPr>
          <p:cNvPr id="4" name="object 4"/>
          <p:cNvSpPr/>
          <p:nvPr/>
        </p:nvSpPr>
        <p:spPr>
          <a:xfrm>
            <a:off x="7290815" y="1017678"/>
            <a:ext cx="2383535" cy="2560673"/>
          </a:xfrm>
          <a:prstGeom prst="rect">
            <a:avLst/>
          </a:prstGeom>
          <a:blipFill>
            <a:blip r:embed="rId2" cstate="print"/>
            <a:stretch>
              <a:fillRect/>
            </a:stretch>
          </a:blipFill>
        </p:spPr>
        <p:txBody>
          <a:bodyPr wrap="square" lIns="0" tIns="0" rIns="0" bIns="0" rtlCol="0"/>
          <a:lstStyle/>
          <a:p>
            <a:endParaRPr/>
          </a:p>
        </p:txBody>
      </p:sp>
      <p:sp>
        <p:nvSpPr>
          <p:cNvPr id="5" name="object 5"/>
          <p:cNvSpPr/>
          <p:nvPr/>
        </p:nvSpPr>
        <p:spPr>
          <a:xfrm>
            <a:off x="7290815" y="3578351"/>
            <a:ext cx="2960509" cy="2731007"/>
          </a:xfrm>
          <a:prstGeom prst="rect">
            <a:avLst/>
          </a:prstGeom>
          <a:blipFill>
            <a:blip r:embed="rId3" cstate="print"/>
            <a:stretch>
              <a:fillRect/>
            </a:stretch>
          </a:blipFill>
        </p:spPr>
        <p:txBody>
          <a:bodyPr wrap="square" lIns="0" tIns="0" rIns="0" bIns="0" rtlCol="0"/>
          <a:lstStyle/>
          <a:p>
            <a:endParaRPr/>
          </a:p>
        </p:txBody>
      </p:sp>
      <p:sp>
        <p:nvSpPr>
          <p:cNvPr id="6" name="object 6"/>
          <p:cNvSpPr/>
          <p:nvPr/>
        </p:nvSpPr>
        <p:spPr>
          <a:xfrm>
            <a:off x="5653768" y="4078778"/>
            <a:ext cx="1131824" cy="1022096"/>
          </a:xfrm>
          <a:prstGeom prst="rect">
            <a:avLst/>
          </a:prstGeom>
          <a:blipFill>
            <a:blip r:embed="rId4" cstate="print"/>
            <a:stretch>
              <a:fillRect/>
            </a:stretch>
          </a:blipFill>
        </p:spPr>
        <p:txBody>
          <a:bodyPr wrap="square" lIns="0" tIns="0" rIns="0" bIns="0" rtlCol="0"/>
          <a:lstStyle/>
          <a:p>
            <a:endParaRPr/>
          </a:p>
        </p:txBody>
      </p:sp>
    </p:spTree>
    <p:extLst>
      <p:ext uri="{BB962C8B-B14F-4D97-AF65-F5344CB8AC3E}">
        <p14:creationId xmlns:p14="http://schemas.microsoft.com/office/powerpoint/2010/main" val="113937641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006763" y="132182"/>
            <a:ext cx="4331943" cy="479618"/>
          </a:xfrm>
          <a:prstGeom prst="rect">
            <a:avLst/>
          </a:prstGeom>
        </p:spPr>
        <p:txBody>
          <a:bodyPr vert="horz" wrap="square" lIns="0" tIns="17780" rIns="0" bIns="0" numCol="1" rtlCol="0" anchor="t" anchorCtr="0" compatLnSpc="1">
            <a:prstTxWarp prst="textNoShape">
              <a:avLst/>
            </a:prstTxWarp>
            <a:spAutoFit/>
          </a:bodyPr>
          <a:lstStyle/>
          <a:p>
            <a:pPr marL="16933">
              <a:spcBef>
                <a:spcPts val="140"/>
              </a:spcBef>
            </a:pPr>
            <a:r>
              <a:rPr dirty="0"/>
              <a:t>Review generated</a:t>
            </a:r>
            <a:r>
              <a:rPr spc="-113" dirty="0"/>
              <a:t> </a:t>
            </a:r>
            <a:r>
              <a:rPr spc="7" dirty="0"/>
              <a:t>POM</a:t>
            </a:r>
          </a:p>
        </p:txBody>
      </p:sp>
      <p:sp>
        <p:nvSpPr>
          <p:cNvPr id="3" name="object 3"/>
          <p:cNvSpPr/>
          <p:nvPr/>
        </p:nvSpPr>
        <p:spPr>
          <a:xfrm>
            <a:off x="1564640" y="894077"/>
            <a:ext cx="7611872" cy="5303523"/>
          </a:xfrm>
          <a:prstGeom prst="rect">
            <a:avLst/>
          </a:prstGeom>
          <a:blipFill>
            <a:blip r:embed="rId2" cstate="print"/>
            <a:stretch>
              <a:fillRect/>
            </a:stretch>
          </a:blipFill>
        </p:spPr>
        <p:txBody>
          <a:bodyPr wrap="square" lIns="0" tIns="0" rIns="0" bIns="0" rtlCol="0"/>
          <a:lstStyle/>
          <a:p>
            <a:endParaRPr/>
          </a:p>
        </p:txBody>
      </p:sp>
      <p:sp>
        <p:nvSpPr>
          <p:cNvPr id="4" name="object 4"/>
          <p:cNvSpPr/>
          <p:nvPr/>
        </p:nvSpPr>
        <p:spPr>
          <a:xfrm>
            <a:off x="5500623" y="3369090"/>
            <a:ext cx="5019040" cy="948909"/>
          </a:xfrm>
          <a:prstGeom prst="rect">
            <a:avLst/>
          </a:prstGeom>
          <a:blipFill>
            <a:blip r:embed="rId3" cstate="print"/>
            <a:stretch>
              <a:fillRect/>
            </a:stretch>
          </a:blipFill>
        </p:spPr>
        <p:txBody>
          <a:bodyPr wrap="square" lIns="0" tIns="0" rIns="0" bIns="0" rtlCol="0"/>
          <a:lstStyle/>
          <a:p>
            <a:endParaRPr/>
          </a:p>
        </p:txBody>
      </p:sp>
      <p:sp>
        <p:nvSpPr>
          <p:cNvPr id="5" name="object 5"/>
          <p:cNvSpPr/>
          <p:nvPr/>
        </p:nvSpPr>
        <p:spPr>
          <a:xfrm>
            <a:off x="7211568" y="3742943"/>
            <a:ext cx="3094736" cy="640079"/>
          </a:xfrm>
          <a:prstGeom prst="rect">
            <a:avLst/>
          </a:prstGeom>
          <a:blipFill>
            <a:blip r:embed="rId4" cstate="print"/>
            <a:stretch>
              <a:fillRect/>
            </a:stretch>
          </a:blipFill>
        </p:spPr>
        <p:txBody>
          <a:bodyPr wrap="square" lIns="0" tIns="0" rIns="0" bIns="0" rtlCol="0"/>
          <a:lstStyle/>
          <a:p>
            <a:endParaRPr/>
          </a:p>
        </p:txBody>
      </p:sp>
      <p:sp>
        <p:nvSpPr>
          <p:cNvPr id="6" name="object 6"/>
          <p:cNvSpPr/>
          <p:nvPr/>
        </p:nvSpPr>
        <p:spPr>
          <a:xfrm>
            <a:off x="7330440" y="3784601"/>
            <a:ext cx="3113193" cy="430953"/>
          </a:xfrm>
          <a:custGeom>
            <a:avLst/>
            <a:gdLst/>
            <a:ahLst/>
            <a:cxnLst/>
            <a:rect l="l" t="t" r="r" b="b"/>
            <a:pathLst>
              <a:path w="2334895" h="323214">
                <a:moveTo>
                  <a:pt x="0" y="323088"/>
                </a:moveTo>
                <a:lnTo>
                  <a:pt x="2334768" y="323088"/>
                </a:lnTo>
                <a:lnTo>
                  <a:pt x="2334768" y="0"/>
                </a:lnTo>
                <a:lnTo>
                  <a:pt x="0" y="0"/>
                </a:lnTo>
                <a:lnTo>
                  <a:pt x="0" y="323088"/>
                </a:lnTo>
                <a:close/>
              </a:path>
            </a:pathLst>
          </a:custGeom>
          <a:solidFill>
            <a:srgbClr val="FFC000"/>
          </a:solidFill>
        </p:spPr>
        <p:txBody>
          <a:bodyPr wrap="square" lIns="0" tIns="0" rIns="0" bIns="0" rtlCol="0"/>
          <a:lstStyle/>
          <a:p>
            <a:endParaRPr/>
          </a:p>
        </p:txBody>
      </p:sp>
      <p:sp>
        <p:nvSpPr>
          <p:cNvPr id="7" name="object 7"/>
          <p:cNvSpPr/>
          <p:nvPr/>
        </p:nvSpPr>
        <p:spPr>
          <a:xfrm>
            <a:off x="7330440" y="3784601"/>
            <a:ext cx="3113193" cy="430953"/>
          </a:xfrm>
          <a:custGeom>
            <a:avLst/>
            <a:gdLst/>
            <a:ahLst/>
            <a:cxnLst/>
            <a:rect l="l" t="t" r="r" b="b"/>
            <a:pathLst>
              <a:path w="2334895" h="323214">
                <a:moveTo>
                  <a:pt x="0" y="323088"/>
                </a:moveTo>
                <a:lnTo>
                  <a:pt x="2334768" y="323088"/>
                </a:lnTo>
                <a:lnTo>
                  <a:pt x="2334768" y="0"/>
                </a:lnTo>
                <a:lnTo>
                  <a:pt x="0" y="0"/>
                </a:lnTo>
                <a:lnTo>
                  <a:pt x="0" y="323088"/>
                </a:lnTo>
                <a:close/>
              </a:path>
            </a:pathLst>
          </a:custGeom>
          <a:ln w="38100">
            <a:solidFill>
              <a:srgbClr val="FFFFFF"/>
            </a:solidFill>
          </a:ln>
        </p:spPr>
        <p:txBody>
          <a:bodyPr wrap="square" lIns="0" tIns="0" rIns="0" bIns="0" rtlCol="0"/>
          <a:lstStyle/>
          <a:p>
            <a:endParaRPr/>
          </a:p>
        </p:txBody>
      </p:sp>
      <p:sp>
        <p:nvSpPr>
          <p:cNvPr id="8" name="object 8"/>
          <p:cNvSpPr/>
          <p:nvPr/>
        </p:nvSpPr>
        <p:spPr>
          <a:xfrm>
            <a:off x="7071020" y="3784601"/>
            <a:ext cx="0" cy="430953"/>
          </a:xfrm>
          <a:custGeom>
            <a:avLst/>
            <a:gdLst/>
            <a:ahLst/>
            <a:cxnLst/>
            <a:rect l="l" t="t" r="r" b="b"/>
            <a:pathLst>
              <a:path h="323214">
                <a:moveTo>
                  <a:pt x="0" y="0"/>
                </a:moveTo>
                <a:lnTo>
                  <a:pt x="0" y="323088"/>
                </a:lnTo>
              </a:path>
            </a:pathLst>
          </a:custGeom>
          <a:ln w="38100">
            <a:solidFill>
              <a:srgbClr val="FFFFFF"/>
            </a:solidFill>
          </a:ln>
        </p:spPr>
        <p:txBody>
          <a:bodyPr wrap="square" lIns="0" tIns="0" rIns="0" bIns="0" rtlCol="0"/>
          <a:lstStyle/>
          <a:p>
            <a:endParaRPr/>
          </a:p>
        </p:txBody>
      </p:sp>
      <p:sp>
        <p:nvSpPr>
          <p:cNvPr id="9" name="object 9"/>
          <p:cNvSpPr/>
          <p:nvPr/>
        </p:nvSpPr>
        <p:spPr>
          <a:xfrm>
            <a:off x="5583429" y="3424428"/>
            <a:ext cx="1487593" cy="441113"/>
          </a:xfrm>
          <a:custGeom>
            <a:avLst/>
            <a:gdLst/>
            <a:ahLst/>
            <a:cxnLst/>
            <a:rect l="l" t="t" r="r" b="b"/>
            <a:pathLst>
              <a:path w="1115695" h="330835">
                <a:moveTo>
                  <a:pt x="1115694" y="330708"/>
                </a:moveTo>
                <a:lnTo>
                  <a:pt x="0" y="0"/>
                </a:lnTo>
              </a:path>
            </a:pathLst>
          </a:custGeom>
          <a:ln w="38100">
            <a:solidFill>
              <a:srgbClr val="FFFFFF"/>
            </a:solidFill>
          </a:ln>
        </p:spPr>
        <p:txBody>
          <a:bodyPr wrap="square" lIns="0" tIns="0" rIns="0" bIns="0" rtlCol="0"/>
          <a:lstStyle/>
          <a:p>
            <a:endParaRPr/>
          </a:p>
        </p:txBody>
      </p:sp>
      <p:sp>
        <p:nvSpPr>
          <p:cNvPr id="10" name="object 10"/>
          <p:cNvSpPr txBox="1"/>
          <p:nvPr/>
        </p:nvSpPr>
        <p:spPr>
          <a:xfrm>
            <a:off x="7330440" y="3816603"/>
            <a:ext cx="3113193" cy="324875"/>
          </a:xfrm>
          <a:prstGeom prst="rect">
            <a:avLst/>
          </a:prstGeom>
        </p:spPr>
        <p:txBody>
          <a:bodyPr vert="horz" wrap="square" lIns="0" tIns="16933" rIns="0" bIns="0" rtlCol="0">
            <a:spAutoFit/>
          </a:bodyPr>
          <a:lstStyle/>
          <a:p>
            <a:pPr marL="90591">
              <a:spcBef>
                <a:spcPts val="133"/>
              </a:spcBef>
            </a:pPr>
            <a:r>
              <a:rPr sz="2000" spc="-93" dirty="0">
                <a:latin typeface="Trebuchet MS"/>
                <a:cs typeface="Trebuchet MS"/>
              </a:rPr>
              <a:t>version: </a:t>
            </a:r>
            <a:r>
              <a:rPr sz="2000" spc="-80" dirty="0">
                <a:latin typeface="Trebuchet MS"/>
                <a:cs typeface="Trebuchet MS"/>
              </a:rPr>
              <a:t>version of</a:t>
            </a:r>
            <a:r>
              <a:rPr sz="2000" spc="-320" dirty="0">
                <a:latin typeface="Trebuchet MS"/>
                <a:cs typeface="Trebuchet MS"/>
              </a:rPr>
              <a:t> </a:t>
            </a:r>
            <a:r>
              <a:rPr sz="2000" spc="-120" dirty="0">
                <a:latin typeface="Trebuchet MS"/>
                <a:cs typeface="Trebuchet MS"/>
              </a:rPr>
              <a:t>project</a:t>
            </a:r>
            <a:endParaRPr sz="2000">
              <a:latin typeface="Trebuchet MS"/>
              <a:cs typeface="Trebuchet MS"/>
            </a:endParaRPr>
          </a:p>
        </p:txBody>
      </p:sp>
      <p:sp>
        <p:nvSpPr>
          <p:cNvPr id="11" name="object 11"/>
          <p:cNvSpPr/>
          <p:nvPr/>
        </p:nvSpPr>
        <p:spPr>
          <a:xfrm>
            <a:off x="7783068" y="2108200"/>
            <a:ext cx="0" cy="536787"/>
          </a:xfrm>
          <a:custGeom>
            <a:avLst/>
            <a:gdLst/>
            <a:ahLst/>
            <a:cxnLst/>
            <a:rect l="l" t="t" r="r" b="b"/>
            <a:pathLst>
              <a:path h="402589">
                <a:moveTo>
                  <a:pt x="0" y="0"/>
                </a:moveTo>
                <a:lnTo>
                  <a:pt x="0" y="402336"/>
                </a:lnTo>
              </a:path>
            </a:pathLst>
          </a:custGeom>
          <a:ln w="25908">
            <a:solidFill>
              <a:srgbClr val="BB8B00"/>
            </a:solidFill>
          </a:ln>
        </p:spPr>
        <p:txBody>
          <a:bodyPr wrap="square" lIns="0" tIns="0" rIns="0" bIns="0" rtlCol="0"/>
          <a:lstStyle/>
          <a:p>
            <a:endParaRPr/>
          </a:p>
        </p:txBody>
      </p:sp>
      <p:sp>
        <p:nvSpPr>
          <p:cNvPr id="12" name="object 12"/>
          <p:cNvSpPr/>
          <p:nvPr/>
        </p:nvSpPr>
        <p:spPr>
          <a:xfrm>
            <a:off x="6963495" y="2208785"/>
            <a:ext cx="819573" cy="229447"/>
          </a:xfrm>
          <a:custGeom>
            <a:avLst/>
            <a:gdLst/>
            <a:ahLst/>
            <a:cxnLst/>
            <a:rect l="l" t="t" r="r" b="b"/>
            <a:pathLst>
              <a:path w="614679" h="172085">
                <a:moveTo>
                  <a:pt x="614679" y="0"/>
                </a:moveTo>
                <a:lnTo>
                  <a:pt x="0" y="171576"/>
                </a:lnTo>
              </a:path>
            </a:pathLst>
          </a:custGeom>
          <a:ln w="25908">
            <a:solidFill>
              <a:srgbClr val="BB8B00"/>
            </a:solidFill>
          </a:ln>
        </p:spPr>
        <p:txBody>
          <a:bodyPr wrap="square" lIns="0" tIns="0" rIns="0" bIns="0" rtlCol="0"/>
          <a:lstStyle/>
          <a:p>
            <a:endParaRPr/>
          </a:p>
        </p:txBody>
      </p:sp>
      <p:sp>
        <p:nvSpPr>
          <p:cNvPr id="13" name="object 13"/>
          <p:cNvSpPr txBox="1"/>
          <p:nvPr/>
        </p:nvSpPr>
        <p:spPr>
          <a:xfrm>
            <a:off x="8005063" y="2108200"/>
            <a:ext cx="2664460" cy="381301"/>
          </a:xfrm>
          <a:prstGeom prst="rect">
            <a:avLst/>
          </a:prstGeom>
          <a:solidFill>
            <a:srgbClr val="FFC000"/>
          </a:solidFill>
          <a:ln w="25907">
            <a:solidFill>
              <a:srgbClr val="BB8B00"/>
            </a:solidFill>
          </a:ln>
        </p:spPr>
        <p:txBody>
          <a:bodyPr vert="horz" wrap="square" lIns="0" tIns="133773" rIns="0" bIns="0" rtlCol="0">
            <a:spAutoFit/>
          </a:bodyPr>
          <a:lstStyle/>
          <a:p>
            <a:pPr marL="91438">
              <a:spcBef>
                <a:spcPts val="1053"/>
              </a:spcBef>
            </a:pPr>
            <a:r>
              <a:rPr sz="1600" spc="-67" dirty="0">
                <a:latin typeface="Trebuchet MS"/>
                <a:cs typeface="Trebuchet MS"/>
              </a:rPr>
              <a:t>groupId: </a:t>
            </a:r>
            <a:r>
              <a:rPr sz="1600" spc="-47" dirty="0">
                <a:latin typeface="Trebuchet MS"/>
                <a:cs typeface="Trebuchet MS"/>
              </a:rPr>
              <a:t>Id </a:t>
            </a:r>
            <a:r>
              <a:rPr sz="1600" spc="-67" dirty="0">
                <a:latin typeface="Trebuchet MS"/>
                <a:cs typeface="Trebuchet MS"/>
              </a:rPr>
              <a:t>of </a:t>
            </a:r>
            <a:r>
              <a:rPr sz="1600" spc="-100" dirty="0">
                <a:latin typeface="Trebuchet MS"/>
                <a:cs typeface="Trebuchet MS"/>
              </a:rPr>
              <a:t>Project</a:t>
            </a:r>
            <a:r>
              <a:rPr sz="1600" spc="-360" dirty="0">
                <a:latin typeface="Trebuchet MS"/>
                <a:cs typeface="Trebuchet MS"/>
              </a:rPr>
              <a:t> </a:t>
            </a:r>
            <a:r>
              <a:rPr sz="1600" spc="-53" dirty="0">
                <a:latin typeface="Trebuchet MS"/>
                <a:cs typeface="Trebuchet MS"/>
              </a:rPr>
              <a:t>group</a:t>
            </a:r>
            <a:endParaRPr sz="1600">
              <a:latin typeface="Trebuchet MS"/>
              <a:cs typeface="Trebuchet MS"/>
            </a:endParaRPr>
          </a:p>
        </p:txBody>
      </p:sp>
      <p:sp>
        <p:nvSpPr>
          <p:cNvPr id="14" name="object 14"/>
          <p:cNvSpPr/>
          <p:nvPr/>
        </p:nvSpPr>
        <p:spPr>
          <a:xfrm>
            <a:off x="7532623" y="3095752"/>
            <a:ext cx="0" cy="284480"/>
          </a:xfrm>
          <a:custGeom>
            <a:avLst/>
            <a:gdLst/>
            <a:ahLst/>
            <a:cxnLst/>
            <a:rect l="l" t="t" r="r" b="b"/>
            <a:pathLst>
              <a:path h="213360">
                <a:moveTo>
                  <a:pt x="0" y="0"/>
                </a:moveTo>
                <a:lnTo>
                  <a:pt x="0" y="213360"/>
                </a:lnTo>
              </a:path>
            </a:pathLst>
          </a:custGeom>
          <a:ln w="25908">
            <a:solidFill>
              <a:srgbClr val="BB8B00"/>
            </a:solidFill>
          </a:ln>
        </p:spPr>
        <p:txBody>
          <a:bodyPr wrap="square" lIns="0" tIns="0" rIns="0" bIns="0" rtlCol="0"/>
          <a:lstStyle/>
          <a:p>
            <a:endParaRPr/>
          </a:p>
        </p:txBody>
      </p:sp>
      <p:sp>
        <p:nvSpPr>
          <p:cNvPr id="15" name="object 15"/>
          <p:cNvSpPr/>
          <p:nvPr/>
        </p:nvSpPr>
        <p:spPr>
          <a:xfrm>
            <a:off x="5757841" y="2878327"/>
            <a:ext cx="1775460" cy="270933"/>
          </a:xfrm>
          <a:custGeom>
            <a:avLst/>
            <a:gdLst/>
            <a:ahLst/>
            <a:cxnLst/>
            <a:rect l="l" t="t" r="r" b="b"/>
            <a:pathLst>
              <a:path w="1331595" h="203200">
                <a:moveTo>
                  <a:pt x="1331087" y="203073"/>
                </a:moveTo>
                <a:lnTo>
                  <a:pt x="0" y="0"/>
                </a:lnTo>
              </a:path>
            </a:pathLst>
          </a:custGeom>
          <a:ln w="25908">
            <a:solidFill>
              <a:srgbClr val="BB8B00"/>
            </a:solidFill>
          </a:ln>
        </p:spPr>
        <p:txBody>
          <a:bodyPr wrap="square" lIns="0" tIns="0" rIns="0" bIns="0" rtlCol="0"/>
          <a:lstStyle/>
          <a:p>
            <a:endParaRPr/>
          </a:p>
        </p:txBody>
      </p:sp>
      <p:sp>
        <p:nvSpPr>
          <p:cNvPr id="16" name="object 16"/>
          <p:cNvSpPr txBox="1"/>
          <p:nvPr/>
        </p:nvSpPr>
        <p:spPr>
          <a:xfrm>
            <a:off x="7763255" y="3095753"/>
            <a:ext cx="2767752" cy="282129"/>
          </a:xfrm>
          <a:prstGeom prst="rect">
            <a:avLst/>
          </a:prstGeom>
          <a:solidFill>
            <a:srgbClr val="FFC000"/>
          </a:solidFill>
          <a:ln w="25907">
            <a:solidFill>
              <a:srgbClr val="BB8B00"/>
            </a:solidFill>
          </a:ln>
        </p:spPr>
        <p:txBody>
          <a:bodyPr vert="horz" wrap="square" lIns="0" tIns="0" rIns="0" bIns="0" rtlCol="0">
            <a:spAutoFit/>
          </a:bodyPr>
          <a:lstStyle/>
          <a:p>
            <a:pPr marL="91438">
              <a:lnSpc>
                <a:spcPts val="2207"/>
              </a:lnSpc>
            </a:pPr>
            <a:r>
              <a:rPr sz="2000" spc="-113" dirty="0">
                <a:latin typeface="Trebuchet MS"/>
                <a:cs typeface="Trebuchet MS"/>
              </a:rPr>
              <a:t>artifactId: </a:t>
            </a:r>
            <a:r>
              <a:rPr sz="2000" spc="-60" dirty="0">
                <a:latin typeface="Trebuchet MS"/>
                <a:cs typeface="Trebuchet MS"/>
              </a:rPr>
              <a:t>Id </a:t>
            </a:r>
            <a:r>
              <a:rPr sz="2000" spc="-80" dirty="0">
                <a:latin typeface="Trebuchet MS"/>
                <a:cs typeface="Trebuchet MS"/>
              </a:rPr>
              <a:t>of</a:t>
            </a:r>
            <a:r>
              <a:rPr sz="2000" spc="-380" dirty="0">
                <a:latin typeface="Trebuchet MS"/>
                <a:cs typeface="Trebuchet MS"/>
              </a:rPr>
              <a:t> </a:t>
            </a:r>
            <a:r>
              <a:rPr sz="2000" spc="-127" dirty="0">
                <a:latin typeface="Trebuchet MS"/>
                <a:cs typeface="Trebuchet MS"/>
              </a:rPr>
              <a:t>project</a:t>
            </a:r>
            <a:endParaRPr sz="2000">
              <a:latin typeface="Trebuchet MS"/>
              <a:cs typeface="Trebuchet MS"/>
            </a:endParaRPr>
          </a:p>
        </p:txBody>
      </p:sp>
      <p:sp>
        <p:nvSpPr>
          <p:cNvPr id="17" name="object 17"/>
          <p:cNvSpPr/>
          <p:nvPr/>
        </p:nvSpPr>
        <p:spPr>
          <a:xfrm>
            <a:off x="4988560" y="6067549"/>
            <a:ext cx="5585968" cy="770161"/>
          </a:xfrm>
          <a:prstGeom prst="rect">
            <a:avLst/>
          </a:prstGeom>
          <a:blipFill>
            <a:blip r:embed="rId5" cstate="print"/>
            <a:stretch>
              <a:fillRect/>
            </a:stretch>
          </a:blipFill>
        </p:spPr>
        <p:txBody>
          <a:bodyPr wrap="square" lIns="0" tIns="0" rIns="0" bIns="0" rtlCol="0"/>
          <a:lstStyle/>
          <a:p>
            <a:endParaRPr/>
          </a:p>
        </p:txBody>
      </p:sp>
      <p:sp>
        <p:nvSpPr>
          <p:cNvPr id="18" name="object 18"/>
          <p:cNvSpPr/>
          <p:nvPr/>
        </p:nvSpPr>
        <p:spPr>
          <a:xfrm>
            <a:off x="4994655" y="6079741"/>
            <a:ext cx="3484880" cy="778256"/>
          </a:xfrm>
          <a:prstGeom prst="rect">
            <a:avLst/>
          </a:prstGeom>
          <a:blipFill>
            <a:blip r:embed="rId6" cstate="print"/>
            <a:stretch>
              <a:fillRect/>
            </a:stretch>
          </a:blipFill>
        </p:spPr>
        <p:txBody>
          <a:bodyPr wrap="square" lIns="0" tIns="0" rIns="0" bIns="0" rtlCol="0"/>
          <a:lstStyle/>
          <a:p>
            <a:endParaRPr/>
          </a:p>
        </p:txBody>
      </p:sp>
      <p:sp>
        <p:nvSpPr>
          <p:cNvPr id="19" name="object 19"/>
          <p:cNvSpPr/>
          <p:nvPr/>
        </p:nvSpPr>
        <p:spPr>
          <a:xfrm>
            <a:off x="5051552" y="6104128"/>
            <a:ext cx="5466080" cy="650240"/>
          </a:xfrm>
          <a:prstGeom prst="rect">
            <a:avLst/>
          </a:prstGeom>
          <a:blipFill>
            <a:blip r:embed="rId7" cstate="print"/>
            <a:stretch>
              <a:fillRect/>
            </a:stretch>
          </a:blipFill>
        </p:spPr>
        <p:txBody>
          <a:bodyPr wrap="square" lIns="0" tIns="0" rIns="0" bIns="0" rtlCol="0"/>
          <a:lstStyle/>
          <a:p>
            <a:endParaRPr/>
          </a:p>
        </p:txBody>
      </p:sp>
      <p:sp>
        <p:nvSpPr>
          <p:cNvPr id="20" name="object 20"/>
          <p:cNvSpPr/>
          <p:nvPr/>
        </p:nvSpPr>
        <p:spPr>
          <a:xfrm>
            <a:off x="5051552" y="6104128"/>
            <a:ext cx="5466080" cy="650240"/>
          </a:xfrm>
          <a:custGeom>
            <a:avLst/>
            <a:gdLst/>
            <a:ahLst/>
            <a:cxnLst/>
            <a:rect l="l" t="t" r="r" b="b"/>
            <a:pathLst>
              <a:path w="4099559" h="487679">
                <a:moveTo>
                  <a:pt x="0" y="487679"/>
                </a:moveTo>
                <a:lnTo>
                  <a:pt x="4099560" y="487679"/>
                </a:lnTo>
                <a:lnTo>
                  <a:pt x="4099560" y="0"/>
                </a:lnTo>
                <a:lnTo>
                  <a:pt x="0" y="0"/>
                </a:lnTo>
                <a:lnTo>
                  <a:pt x="0" y="487679"/>
                </a:lnTo>
                <a:close/>
              </a:path>
            </a:pathLst>
          </a:custGeom>
          <a:ln w="9144">
            <a:solidFill>
              <a:srgbClr val="00AF4E"/>
            </a:solidFill>
          </a:ln>
        </p:spPr>
        <p:txBody>
          <a:bodyPr wrap="square" lIns="0" tIns="0" rIns="0" bIns="0" rtlCol="0"/>
          <a:lstStyle/>
          <a:p>
            <a:endParaRPr/>
          </a:p>
        </p:txBody>
      </p:sp>
      <p:sp>
        <p:nvSpPr>
          <p:cNvPr id="21" name="object 21"/>
          <p:cNvSpPr txBox="1"/>
          <p:nvPr/>
        </p:nvSpPr>
        <p:spPr>
          <a:xfrm>
            <a:off x="5156538" y="6123364"/>
            <a:ext cx="3167380" cy="540318"/>
          </a:xfrm>
          <a:prstGeom prst="rect">
            <a:avLst/>
          </a:prstGeom>
        </p:spPr>
        <p:txBody>
          <a:bodyPr vert="horz" wrap="square" lIns="0" tIns="34712" rIns="0" bIns="0" rtlCol="0">
            <a:spAutoFit/>
          </a:bodyPr>
          <a:lstStyle/>
          <a:p>
            <a:pPr marL="16933">
              <a:spcBef>
                <a:spcPts val="272"/>
              </a:spcBef>
            </a:pPr>
            <a:r>
              <a:rPr sz="1600" spc="-73" dirty="0">
                <a:latin typeface="Trebuchet MS"/>
                <a:cs typeface="Trebuchet MS"/>
              </a:rPr>
              <a:t>Note: </a:t>
            </a:r>
            <a:r>
              <a:rPr sz="1600" b="1" spc="-120" dirty="0">
                <a:latin typeface="Trebuchet MS"/>
                <a:cs typeface="Trebuchet MS"/>
              </a:rPr>
              <a:t>Project </a:t>
            </a:r>
            <a:r>
              <a:rPr sz="1600" b="1" spc="-67" dirty="0">
                <a:latin typeface="Trebuchet MS"/>
                <a:cs typeface="Trebuchet MS"/>
              </a:rPr>
              <a:t>Notation </a:t>
            </a:r>
            <a:r>
              <a:rPr sz="1600" b="1" spc="-87" dirty="0">
                <a:latin typeface="Trebuchet MS"/>
                <a:cs typeface="Trebuchet MS"/>
              </a:rPr>
              <a:t>in repository</a:t>
            </a:r>
            <a:r>
              <a:rPr sz="1600" b="1" spc="-333" dirty="0">
                <a:latin typeface="Trebuchet MS"/>
                <a:cs typeface="Trebuchet MS"/>
              </a:rPr>
              <a:t> </a:t>
            </a:r>
            <a:r>
              <a:rPr sz="1600" b="1" spc="-100" dirty="0">
                <a:latin typeface="Trebuchet MS"/>
                <a:cs typeface="Trebuchet MS"/>
              </a:rPr>
              <a:t>-</a:t>
            </a:r>
            <a:endParaRPr sz="1600" dirty="0">
              <a:latin typeface="Trebuchet MS"/>
              <a:cs typeface="Trebuchet MS"/>
            </a:endParaRPr>
          </a:p>
          <a:p>
            <a:pPr marL="16933">
              <a:spcBef>
                <a:spcPts val="147"/>
              </a:spcBef>
            </a:pPr>
            <a:r>
              <a:rPr sz="1600" spc="-80" dirty="0">
                <a:latin typeface="Trebuchet MS"/>
                <a:cs typeface="Trebuchet MS"/>
              </a:rPr>
              <a:t>groupId:artifactId:version</a:t>
            </a:r>
            <a:endParaRPr sz="1600" dirty="0">
              <a:latin typeface="Trebuchet MS"/>
              <a:cs typeface="Trebuchet MS"/>
            </a:endParaRPr>
          </a:p>
        </p:txBody>
      </p:sp>
    </p:spTree>
    <p:extLst>
      <p:ext uri="{BB962C8B-B14F-4D97-AF65-F5344CB8AC3E}">
        <p14:creationId xmlns:p14="http://schemas.microsoft.com/office/powerpoint/2010/main" val="310926655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080655" y="317320"/>
            <a:ext cx="2309090" cy="479618"/>
          </a:xfrm>
          <a:prstGeom prst="rect">
            <a:avLst/>
          </a:prstGeom>
        </p:spPr>
        <p:txBody>
          <a:bodyPr vert="horz" wrap="square" lIns="0" tIns="17780" rIns="0" bIns="0" numCol="1" rtlCol="0" anchor="t" anchorCtr="0" compatLnSpc="1">
            <a:prstTxWarp prst="textNoShape">
              <a:avLst/>
            </a:prstTxWarp>
            <a:spAutoFit/>
          </a:bodyPr>
          <a:lstStyle/>
          <a:p>
            <a:pPr marL="16933">
              <a:spcBef>
                <a:spcPts val="140"/>
              </a:spcBef>
            </a:pPr>
            <a:r>
              <a:rPr dirty="0"/>
              <a:t>Update</a:t>
            </a:r>
            <a:r>
              <a:rPr spc="-113" dirty="0"/>
              <a:t> </a:t>
            </a:r>
            <a:r>
              <a:rPr dirty="0"/>
              <a:t>POM</a:t>
            </a:r>
          </a:p>
        </p:txBody>
      </p:sp>
      <p:sp>
        <p:nvSpPr>
          <p:cNvPr id="3" name="object 3"/>
          <p:cNvSpPr txBox="1"/>
          <p:nvPr/>
        </p:nvSpPr>
        <p:spPr>
          <a:xfrm>
            <a:off x="284209" y="994155"/>
            <a:ext cx="10452100" cy="1351845"/>
          </a:xfrm>
          <a:prstGeom prst="rect">
            <a:avLst/>
          </a:prstGeom>
        </p:spPr>
        <p:txBody>
          <a:bodyPr vert="horz" wrap="square" lIns="0" tIns="17780" rIns="0" bIns="0" rtlCol="0">
            <a:spAutoFit/>
          </a:bodyPr>
          <a:lstStyle/>
          <a:p>
            <a:pPr marL="325112" indent="-308179">
              <a:spcBef>
                <a:spcPts val="140"/>
              </a:spcBef>
              <a:buClr>
                <a:srgbClr val="00AFEF"/>
              </a:buClr>
              <a:buFont typeface="Wingdings"/>
              <a:buChar char=""/>
              <a:tabLst>
                <a:tab pos="325959" algn="l"/>
              </a:tabLst>
            </a:pPr>
            <a:r>
              <a:rPr sz="2667" dirty="0">
                <a:solidFill>
                  <a:srgbClr val="4D4E5C"/>
                </a:solidFill>
                <a:latin typeface="Arial"/>
                <a:cs typeface="Arial"/>
              </a:rPr>
              <a:t>Generated pom.xml, may have mappings to </a:t>
            </a:r>
            <a:r>
              <a:rPr sz="2667" spc="7" dirty="0">
                <a:solidFill>
                  <a:srgbClr val="4D4E5C"/>
                </a:solidFill>
                <a:latin typeface="Arial"/>
                <a:cs typeface="Arial"/>
              </a:rPr>
              <a:t>JDK </a:t>
            </a:r>
            <a:r>
              <a:rPr sz="2667" dirty="0">
                <a:solidFill>
                  <a:srgbClr val="4D4E5C"/>
                </a:solidFill>
                <a:latin typeface="Arial"/>
                <a:cs typeface="Arial"/>
              </a:rPr>
              <a:t>1.4 &amp; Junit test</a:t>
            </a:r>
            <a:r>
              <a:rPr sz="2667" spc="-360" dirty="0">
                <a:solidFill>
                  <a:srgbClr val="4D4E5C"/>
                </a:solidFill>
                <a:latin typeface="Arial"/>
                <a:cs typeface="Arial"/>
              </a:rPr>
              <a:t> </a:t>
            </a:r>
            <a:r>
              <a:rPr sz="2667" dirty="0">
                <a:solidFill>
                  <a:srgbClr val="4D4E5C"/>
                </a:solidFill>
                <a:latin typeface="Arial"/>
                <a:cs typeface="Arial"/>
              </a:rPr>
              <a:t>for</a:t>
            </a:r>
            <a:endParaRPr sz="2667">
              <a:latin typeface="Arial"/>
              <a:cs typeface="Arial"/>
            </a:endParaRPr>
          </a:p>
          <a:p>
            <a:pPr marL="325112"/>
            <a:r>
              <a:rPr sz="2667" dirty="0">
                <a:solidFill>
                  <a:srgbClr val="4D4E5C"/>
                </a:solidFill>
                <a:latin typeface="Arial"/>
                <a:cs typeface="Arial"/>
              </a:rPr>
              <a:t>version</a:t>
            </a:r>
            <a:r>
              <a:rPr sz="2667" spc="-47" dirty="0">
                <a:solidFill>
                  <a:srgbClr val="4D4E5C"/>
                </a:solidFill>
                <a:latin typeface="Arial"/>
                <a:cs typeface="Arial"/>
              </a:rPr>
              <a:t> </a:t>
            </a:r>
            <a:r>
              <a:rPr sz="2667" dirty="0">
                <a:solidFill>
                  <a:srgbClr val="4D4E5C"/>
                </a:solidFill>
                <a:latin typeface="Arial"/>
                <a:cs typeface="Arial"/>
              </a:rPr>
              <a:t>3.8.x</a:t>
            </a:r>
            <a:endParaRPr sz="2667">
              <a:latin typeface="Arial"/>
              <a:cs typeface="Arial"/>
            </a:endParaRPr>
          </a:p>
          <a:p>
            <a:pPr marL="325112" indent="-308179">
              <a:spcBef>
                <a:spcPts val="800"/>
              </a:spcBef>
              <a:buClr>
                <a:srgbClr val="00AFEF"/>
              </a:buClr>
              <a:buFont typeface="Wingdings"/>
              <a:buChar char=""/>
              <a:tabLst>
                <a:tab pos="325959" algn="l"/>
                <a:tab pos="2561103" algn="l"/>
              </a:tabLst>
            </a:pPr>
            <a:r>
              <a:rPr sz="2667" dirty="0">
                <a:solidFill>
                  <a:srgbClr val="4D4E5C"/>
                </a:solidFill>
                <a:latin typeface="Arial"/>
                <a:cs typeface="Arial"/>
              </a:rPr>
              <a:t>Let</a:t>
            </a:r>
            <a:r>
              <a:rPr sz="2667" spc="-13" dirty="0">
                <a:solidFill>
                  <a:srgbClr val="4D4E5C"/>
                </a:solidFill>
                <a:latin typeface="Arial"/>
                <a:cs typeface="Arial"/>
              </a:rPr>
              <a:t> </a:t>
            </a:r>
            <a:r>
              <a:rPr sz="2667" dirty="0">
                <a:solidFill>
                  <a:srgbClr val="4D4E5C"/>
                </a:solidFill>
                <a:latin typeface="Arial"/>
                <a:cs typeface="Arial"/>
              </a:rPr>
              <a:t>us</a:t>
            </a:r>
            <a:r>
              <a:rPr sz="2667" spc="-7" dirty="0">
                <a:solidFill>
                  <a:srgbClr val="4D4E5C"/>
                </a:solidFill>
                <a:latin typeface="Arial"/>
                <a:cs typeface="Arial"/>
              </a:rPr>
              <a:t> </a:t>
            </a:r>
            <a:r>
              <a:rPr sz="2667" dirty="0">
                <a:solidFill>
                  <a:srgbClr val="4D4E5C"/>
                </a:solidFill>
                <a:latin typeface="Arial"/>
                <a:cs typeface="Arial"/>
              </a:rPr>
              <a:t>update	</a:t>
            </a:r>
            <a:r>
              <a:rPr sz="2667" spc="-7" dirty="0">
                <a:solidFill>
                  <a:srgbClr val="4D4E5C"/>
                </a:solidFill>
                <a:latin typeface="Arial"/>
                <a:cs typeface="Arial"/>
              </a:rPr>
              <a:t>the </a:t>
            </a:r>
            <a:r>
              <a:rPr sz="2667" dirty="0">
                <a:solidFill>
                  <a:srgbClr val="4D4E5C"/>
                </a:solidFill>
                <a:latin typeface="Arial"/>
                <a:cs typeface="Arial"/>
              </a:rPr>
              <a:t>versions of </a:t>
            </a:r>
            <a:r>
              <a:rPr sz="2667" spc="7" dirty="0">
                <a:solidFill>
                  <a:srgbClr val="4D4E5C"/>
                </a:solidFill>
                <a:latin typeface="Arial"/>
                <a:cs typeface="Arial"/>
              </a:rPr>
              <a:t>JDK </a:t>
            </a:r>
            <a:r>
              <a:rPr sz="2667" dirty="0">
                <a:solidFill>
                  <a:srgbClr val="4D4E5C"/>
                </a:solidFill>
                <a:latin typeface="Arial"/>
                <a:cs typeface="Arial"/>
              </a:rPr>
              <a:t>and</a:t>
            </a:r>
            <a:r>
              <a:rPr sz="2667" spc="-120" dirty="0">
                <a:solidFill>
                  <a:srgbClr val="4D4E5C"/>
                </a:solidFill>
                <a:latin typeface="Arial"/>
                <a:cs typeface="Arial"/>
              </a:rPr>
              <a:t> </a:t>
            </a:r>
            <a:r>
              <a:rPr sz="2667" dirty="0">
                <a:solidFill>
                  <a:srgbClr val="4D4E5C"/>
                </a:solidFill>
                <a:latin typeface="Arial"/>
                <a:cs typeface="Arial"/>
              </a:rPr>
              <a:t>Junit.</a:t>
            </a:r>
            <a:endParaRPr sz="2667">
              <a:latin typeface="Arial"/>
              <a:cs typeface="Arial"/>
            </a:endParaRPr>
          </a:p>
        </p:txBody>
      </p:sp>
      <p:sp>
        <p:nvSpPr>
          <p:cNvPr id="4" name="object 4"/>
          <p:cNvSpPr/>
          <p:nvPr/>
        </p:nvSpPr>
        <p:spPr>
          <a:xfrm>
            <a:off x="1951497" y="2552193"/>
            <a:ext cx="8389532" cy="3690111"/>
          </a:xfrm>
          <a:prstGeom prst="rect">
            <a:avLst/>
          </a:prstGeom>
          <a:blipFill>
            <a:blip r:embed="rId2" cstate="print"/>
            <a:stretch>
              <a:fillRect/>
            </a:stretch>
          </a:blipFill>
        </p:spPr>
        <p:txBody>
          <a:bodyPr wrap="square" lIns="0" tIns="0" rIns="0" bIns="0" rtlCol="0"/>
          <a:lstStyle/>
          <a:p>
            <a:endParaRPr/>
          </a:p>
        </p:txBody>
      </p:sp>
      <p:sp>
        <p:nvSpPr>
          <p:cNvPr id="5" name="object 5"/>
          <p:cNvSpPr/>
          <p:nvPr/>
        </p:nvSpPr>
        <p:spPr>
          <a:xfrm>
            <a:off x="7032920" y="5666232"/>
            <a:ext cx="0" cy="684953"/>
          </a:xfrm>
          <a:custGeom>
            <a:avLst/>
            <a:gdLst/>
            <a:ahLst/>
            <a:cxnLst/>
            <a:rect l="l" t="t" r="r" b="b"/>
            <a:pathLst>
              <a:path h="513714">
                <a:moveTo>
                  <a:pt x="0" y="0"/>
                </a:moveTo>
                <a:lnTo>
                  <a:pt x="0" y="513588"/>
                </a:lnTo>
              </a:path>
            </a:pathLst>
          </a:custGeom>
          <a:ln w="25908">
            <a:solidFill>
              <a:srgbClr val="7B7C85"/>
            </a:solidFill>
          </a:ln>
        </p:spPr>
        <p:txBody>
          <a:bodyPr wrap="square" lIns="0" tIns="0" rIns="0" bIns="0" rtlCol="0"/>
          <a:lstStyle/>
          <a:p>
            <a:endParaRPr/>
          </a:p>
        </p:txBody>
      </p:sp>
      <p:sp>
        <p:nvSpPr>
          <p:cNvPr id="6" name="object 6"/>
          <p:cNvSpPr/>
          <p:nvPr/>
        </p:nvSpPr>
        <p:spPr>
          <a:xfrm>
            <a:off x="6289547" y="4751831"/>
            <a:ext cx="743373" cy="1043093"/>
          </a:xfrm>
          <a:custGeom>
            <a:avLst/>
            <a:gdLst/>
            <a:ahLst/>
            <a:cxnLst/>
            <a:rect l="l" t="t" r="r" b="b"/>
            <a:pathLst>
              <a:path w="557529" h="782320">
                <a:moveTo>
                  <a:pt x="557529" y="782091"/>
                </a:moveTo>
                <a:lnTo>
                  <a:pt x="0" y="0"/>
                </a:lnTo>
              </a:path>
            </a:pathLst>
          </a:custGeom>
          <a:ln w="25908">
            <a:solidFill>
              <a:srgbClr val="7B7C85"/>
            </a:solidFill>
          </a:ln>
        </p:spPr>
        <p:txBody>
          <a:bodyPr wrap="square" lIns="0" tIns="0" rIns="0" bIns="0" rtlCol="0"/>
          <a:lstStyle/>
          <a:p>
            <a:endParaRPr/>
          </a:p>
        </p:txBody>
      </p:sp>
      <p:sp>
        <p:nvSpPr>
          <p:cNvPr id="7" name="object 7"/>
          <p:cNvSpPr txBox="1"/>
          <p:nvPr/>
        </p:nvSpPr>
        <p:spPr>
          <a:xfrm>
            <a:off x="7269480" y="5666231"/>
            <a:ext cx="2838873" cy="478763"/>
          </a:xfrm>
          <a:prstGeom prst="rect">
            <a:avLst/>
          </a:prstGeom>
          <a:solidFill>
            <a:srgbClr val="AAABB8"/>
          </a:solidFill>
          <a:ln w="25907">
            <a:solidFill>
              <a:srgbClr val="7B7C85"/>
            </a:solidFill>
          </a:ln>
        </p:spPr>
        <p:txBody>
          <a:bodyPr vert="horz" wrap="square" lIns="0" tIns="169333" rIns="0" bIns="0" rtlCol="0">
            <a:spAutoFit/>
          </a:bodyPr>
          <a:lstStyle/>
          <a:p>
            <a:pPr marL="91438">
              <a:spcBef>
                <a:spcPts val="1333"/>
              </a:spcBef>
            </a:pPr>
            <a:r>
              <a:rPr sz="2000" spc="-7" dirty="0">
                <a:solidFill>
                  <a:srgbClr val="FFFFFF"/>
                </a:solidFill>
                <a:latin typeface="Arial"/>
                <a:cs typeface="Arial"/>
              </a:rPr>
              <a:t>JDK </a:t>
            </a:r>
            <a:r>
              <a:rPr sz="2000" dirty="0">
                <a:solidFill>
                  <a:srgbClr val="FFFFFF"/>
                </a:solidFill>
                <a:latin typeface="Arial"/>
                <a:cs typeface="Arial"/>
              </a:rPr>
              <a:t>configured to</a:t>
            </a:r>
            <a:r>
              <a:rPr sz="2000" spc="-100" dirty="0">
                <a:solidFill>
                  <a:srgbClr val="FFFFFF"/>
                </a:solidFill>
                <a:latin typeface="Arial"/>
                <a:cs typeface="Arial"/>
              </a:rPr>
              <a:t> </a:t>
            </a:r>
            <a:r>
              <a:rPr sz="2000" spc="-7" dirty="0">
                <a:solidFill>
                  <a:srgbClr val="FFFFFF"/>
                </a:solidFill>
                <a:latin typeface="Arial"/>
                <a:cs typeface="Arial"/>
              </a:rPr>
              <a:t>1.7</a:t>
            </a:r>
            <a:endParaRPr sz="2000">
              <a:latin typeface="Arial"/>
              <a:cs typeface="Arial"/>
            </a:endParaRPr>
          </a:p>
        </p:txBody>
      </p:sp>
      <p:sp>
        <p:nvSpPr>
          <p:cNvPr id="8" name="object 8"/>
          <p:cNvSpPr/>
          <p:nvPr/>
        </p:nvSpPr>
        <p:spPr>
          <a:xfrm>
            <a:off x="9146214" y="2228735"/>
            <a:ext cx="1194815" cy="1070863"/>
          </a:xfrm>
          <a:prstGeom prst="rect">
            <a:avLst/>
          </a:prstGeom>
          <a:blipFill>
            <a:blip r:embed="rId3" cstate="print"/>
            <a:stretch>
              <a:fillRect/>
            </a:stretch>
          </a:blipFill>
        </p:spPr>
        <p:txBody>
          <a:bodyPr wrap="square" lIns="0" tIns="0" rIns="0" bIns="0" rtlCol="0"/>
          <a:lstStyle/>
          <a:p>
            <a:endParaRPr/>
          </a:p>
        </p:txBody>
      </p:sp>
    </p:spTree>
    <p:extLst>
      <p:ext uri="{BB962C8B-B14F-4D97-AF65-F5344CB8AC3E}">
        <p14:creationId xmlns:p14="http://schemas.microsoft.com/office/powerpoint/2010/main" val="160567327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877455" y="307002"/>
            <a:ext cx="3447894" cy="479618"/>
          </a:xfrm>
          <a:prstGeom prst="rect">
            <a:avLst/>
          </a:prstGeom>
        </p:spPr>
        <p:txBody>
          <a:bodyPr vert="horz" wrap="square" lIns="0" tIns="17780" rIns="0" bIns="0" numCol="1" rtlCol="0" anchor="t" anchorCtr="0" compatLnSpc="1">
            <a:prstTxWarp prst="textNoShape">
              <a:avLst/>
            </a:prstTxWarp>
            <a:spAutoFit/>
          </a:bodyPr>
          <a:lstStyle/>
          <a:p>
            <a:pPr marL="16933">
              <a:spcBef>
                <a:spcPts val="140"/>
              </a:spcBef>
            </a:pPr>
            <a:r>
              <a:rPr dirty="0"/>
              <a:t>Update POM</a:t>
            </a:r>
            <a:r>
              <a:rPr spc="-107" dirty="0"/>
              <a:t> </a:t>
            </a:r>
            <a:r>
              <a:rPr sz="2400" dirty="0"/>
              <a:t>(contd..)</a:t>
            </a:r>
          </a:p>
        </p:txBody>
      </p:sp>
      <p:sp>
        <p:nvSpPr>
          <p:cNvPr id="3" name="object 3"/>
          <p:cNvSpPr/>
          <p:nvPr/>
        </p:nvSpPr>
        <p:spPr>
          <a:xfrm>
            <a:off x="2094992" y="1290412"/>
            <a:ext cx="6974088" cy="2951873"/>
          </a:xfrm>
          <a:prstGeom prst="rect">
            <a:avLst/>
          </a:prstGeom>
          <a:blipFill>
            <a:blip r:embed="rId2" cstate="print"/>
            <a:stretch>
              <a:fillRect/>
            </a:stretch>
          </a:blipFill>
        </p:spPr>
        <p:txBody>
          <a:bodyPr wrap="square" lIns="0" tIns="0" rIns="0" bIns="0" rtlCol="0"/>
          <a:lstStyle/>
          <a:p>
            <a:endParaRPr/>
          </a:p>
        </p:txBody>
      </p:sp>
      <p:sp>
        <p:nvSpPr>
          <p:cNvPr id="4" name="object 4"/>
          <p:cNvSpPr/>
          <p:nvPr/>
        </p:nvSpPr>
        <p:spPr>
          <a:xfrm>
            <a:off x="6215719" y="4723384"/>
            <a:ext cx="0" cy="644312"/>
          </a:xfrm>
          <a:custGeom>
            <a:avLst/>
            <a:gdLst/>
            <a:ahLst/>
            <a:cxnLst/>
            <a:rect l="l" t="t" r="r" b="b"/>
            <a:pathLst>
              <a:path h="483235">
                <a:moveTo>
                  <a:pt x="0" y="0"/>
                </a:moveTo>
                <a:lnTo>
                  <a:pt x="0" y="483108"/>
                </a:lnTo>
              </a:path>
            </a:pathLst>
          </a:custGeom>
          <a:ln w="25908">
            <a:solidFill>
              <a:srgbClr val="7B7C85"/>
            </a:solidFill>
          </a:ln>
        </p:spPr>
        <p:txBody>
          <a:bodyPr wrap="square" lIns="0" tIns="0" rIns="0" bIns="0" rtlCol="0"/>
          <a:lstStyle/>
          <a:p>
            <a:endParaRPr/>
          </a:p>
        </p:txBody>
      </p:sp>
      <p:sp>
        <p:nvSpPr>
          <p:cNvPr id="5" name="object 5"/>
          <p:cNvSpPr/>
          <p:nvPr/>
        </p:nvSpPr>
        <p:spPr>
          <a:xfrm>
            <a:off x="5808811" y="3065781"/>
            <a:ext cx="407247" cy="1778847"/>
          </a:xfrm>
          <a:custGeom>
            <a:avLst/>
            <a:gdLst/>
            <a:ahLst/>
            <a:cxnLst/>
            <a:rect l="l" t="t" r="r" b="b"/>
            <a:pathLst>
              <a:path w="305435" h="1334135">
                <a:moveTo>
                  <a:pt x="305180" y="1333753"/>
                </a:moveTo>
                <a:lnTo>
                  <a:pt x="0" y="0"/>
                </a:lnTo>
              </a:path>
            </a:pathLst>
          </a:custGeom>
          <a:ln w="25907">
            <a:solidFill>
              <a:srgbClr val="7B7C85"/>
            </a:solidFill>
          </a:ln>
        </p:spPr>
        <p:txBody>
          <a:bodyPr wrap="square" lIns="0" tIns="0" rIns="0" bIns="0" rtlCol="0"/>
          <a:lstStyle/>
          <a:p>
            <a:endParaRPr/>
          </a:p>
        </p:txBody>
      </p:sp>
      <p:sp>
        <p:nvSpPr>
          <p:cNvPr id="6" name="object 6"/>
          <p:cNvSpPr txBox="1"/>
          <p:nvPr/>
        </p:nvSpPr>
        <p:spPr>
          <a:xfrm>
            <a:off x="6513576" y="4723385"/>
            <a:ext cx="3574627" cy="485603"/>
          </a:xfrm>
          <a:prstGeom prst="rect">
            <a:avLst/>
          </a:prstGeom>
          <a:solidFill>
            <a:srgbClr val="AAABB8"/>
          </a:solidFill>
          <a:ln w="25907">
            <a:solidFill>
              <a:srgbClr val="7B7C85"/>
            </a:solidFill>
          </a:ln>
        </p:spPr>
        <p:txBody>
          <a:bodyPr vert="horz" wrap="square" lIns="0" tIns="115147" rIns="0" bIns="0" rtlCol="0">
            <a:spAutoFit/>
          </a:bodyPr>
          <a:lstStyle/>
          <a:p>
            <a:pPr marL="92284">
              <a:spcBef>
                <a:spcPts val="907"/>
              </a:spcBef>
            </a:pPr>
            <a:r>
              <a:rPr sz="2400" spc="-27" dirty="0">
                <a:solidFill>
                  <a:srgbClr val="FFFFFF"/>
                </a:solidFill>
                <a:latin typeface="Arial"/>
                <a:cs typeface="Arial"/>
              </a:rPr>
              <a:t>Version </a:t>
            </a:r>
            <a:r>
              <a:rPr sz="2400" spc="-7" dirty="0">
                <a:solidFill>
                  <a:srgbClr val="FFFFFF"/>
                </a:solidFill>
                <a:latin typeface="Arial"/>
                <a:cs typeface="Arial"/>
              </a:rPr>
              <a:t>changed </a:t>
            </a:r>
            <a:r>
              <a:rPr sz="2400" dirty="0">
                <a:solidFill>
                  <a:srgbClr val="FFFFFF"/>
                </a:solidFill>
                <a:latin typeface="Arial"/>
                <a:cs typeface="Arial"/>
              </a:rPr>
              <a:t>to</a:t>
            </a:r>
            <a:r>
              <a:rPr sz="2400" spc="7" dirty="0">
                <a:solidFill>
                  <a:srgbClr val="FFFFFF"/>
                </a:solidFill>
                <a:latin typeface="Arial"/>
                <a:cs typeface="Arial"/>
              </a:rPr>
              <a:t> </a:t>
            </a:r>
            <a:r>
              <a:rPr sz="2400" spc="-47" dirty="0">
                <a:solidFill>
                  <a:srgbClr val="FFFFFF"/>
                </a:solidFill>
                <a:latin typeface="Arial"/>
                <a:cs typeface="Arial"/>
              </a:rPr>
              <a:t>4.11</a:t>
            </a:r>
            <a:endParaRPr sz="2400">
              <a:latin typeface="Arial"/>
              <a:cs typeface="Arial"/>
            </a:endParaRPr>
          </a:p>
        </p:txBody>
      </p:sp>
    </p:spTree>
    <p:extLst>
      <p:ext uri="{BB962C8B-B14F-4D97-AF65-F5344CB8AC3E}">
        <p14:creationId xmlns:p14="http://schemas.microsoft.com/office/powerpoint/2010/main" val="369709001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228435" y="307001"/>
            <a:ext cx="3427113" cy="479618"/>
          </a:xfrm>
          <a:prstGeom prst="rect">
            <a:avLst/>
          </a:prstGeom>
        </p:spPr>
        <p:txBody>
          <a:bodyPr vert="horz" wrap="square" lIns="0" tIns="17780" rIns="0" bIns="0" numCol="1" rtlCol="0" anchor="t" anchorCtr="0" compatLnSpc="1">
            <a:prstTxWarp prst="textNoShape">
              <a:avLst/>
            </a:prstTxWarp>
            <a:spAutoFit/>
          </a:bodyPr>
          <a:lstStyle/>
          <a:p>
            <a:pPr marL="16933">
              <a:spcBef>
                <a:spcPts val="140"/>
              </a:spcBef>
            </a:pPr>
            <a:r>
              <a:rPr dirty="0"/>
              <a:t>Compile, Run &amp;</a:t>
            </a:r>
            <a:r>
              <a:rPr spc="-140" dirty="0"/>
              <a:t> </a:t>
            </a:r>
            <a:r>
              <a:rPr spc="-60" dirty="0"/>
              <a:t>Test</a:t>
            </a:r>
          </a:p>
        </p:txBody>
      </p:sp>
      <p:sp>
        <p:nvSpPr>
          <p:cNvPr id="3" name="object 3"/>
          <p:cNvSpPr txBox="1"/>
          <p:nvPr/>
        </p:nvSpPr>
        <p:spPr>
          <a:xfrm>
            <a:off x="539428" y="996685"/>
            <a:ext cx="6204373" cy="5173276"/>
          </a:xfrm>
          <a:prstGeom prst="rect">
            <a:avLst/>
          </a:prstGeom>
        </p:spPr>
        <p:txBody>
          <a:bodyPr vert="horz" wrap="square" lIns="0" tIns="83820" rIns="0" bIns="0" rtlCol="0">
            <a:spAutoFit/>
          </a:bodyPr>
          <a:lstStyle/>
          <a:p>
            <a:pPr marL="325112" indent="-308179">
              <a:spcBef>
                <a:spcPts val="660"/>
              </a:spcBef>
              <a:buClr>
                <a:srgbClr val="00AFEF"/>
              </a:buClr>
              <a:buFont typeface="Wingdings"/>
              <a:buChar char=""/>
              <a:tabLst>
                <a:tab pos="325112" algn="l"/>
                <a:tab pos="325959" algn="l"/>
              </a:tabLst>
            </a:pPr>
            <a:r>
              <a:rPr sz="1733" spc="-7" dirty="0">
                <a:solidFill>
                  <a:srgbClr val="4D4E5C"/>
                </a:solidFill>
                <a:latin typeface="Arial"/>
                <a:cs typeface="Arial"/>
              </a:rPr>
              <a:t>Compile </a:t>
            </a:r>
            <a:r>
              <a:rPr sz="1733" spc="-13" dirty="0">
                <a:solidFill>
                  <a:srgbClr val="4D4E5C"/>
                </a:solidFill>
                <a:latin typeface="Arial"/>
                <a:cs typeface="Arial"/>
              </a:rPr>
              <a:t>your</a:t>
            </a:r>
            <a:r>
              <a:rPr sz="1733" spc="60" dirty="0">
                <a:solidFill>
                  <a:srgbClr val="4D4E5C"/>
                </a:solidFill>
                <a:latin typeface="Arial"/>
                <a:cs typeface="Arial"/>
              </a:rPr>
              <a:t> </a:t>
            </a:r>
            <a:r>
              <a:rPr sz="1733" spc="-7" dirty="0">
                <a:solidFill>
                  <a:srgbClr val="4D4E5C"/>
                </a:solidFill>
                <a:latin typeface="Arial"/>
                <a:cs typeface="Arial"/>
              </a:rPr>
              <a:t>sources</a:t>
            </a:r>
            <a:endParaRPr sz="1733">
              <a:latin typeface="Arial"/>
              <a:cs typeface="Arial"/>
            </a:endParaRPr>
          </a:p>
          <a:p>
            <a:pPr marL="1008355" lvl="1" indent="-381837">
              <a:spcBef>
                <a:spcPts val="460"/>
              </a:spcBef>
              <a:buClr>
                <a:srgbClr val="00AFEF"/>
              </a:buClr>
              <a:buFont typeface="Wingdings"/>
              <a:buChar char=""/>
              <a:tabLst>
                <a:tab pos="1008355" algn="l"/>
                <a:tab pos="1009201" algn="l"/>
              </a:tabLst>
            </a:pPr>
            <a:r>
              <a:rPr sz="1467" spc="-7" dirty="0">
                <a:solidFill>
                  <a:srgbClr val="4D4E5C"/>
                </a:solidFill>
                <a:latin typeface="Arial"/>
                <a:cs typeface="Arial"/>
              </a:rPr>
              <a:t>mvn</a:t>
            </a:r>
            <a:r>
              <a:rPr sz="1467" spc="-13" dirty="0">
                <a:solidFill>
                  <a:srgbClr val="4D4E5C"/>
                </a:solidFill>
                <a:latin typeface="Arial"/>
                <a:cs typeface="Arial"/>
              </a:rPr>
              <a:t> </a:t>
            </a:r>
            <a:r>
              <a:rPr sz="1467" spc="-7" dirty="0">
                <a:solidFill>
                  <a:srgbClr val="4D4E5C"/>
                </a:solidFill>
                <a:latin typeface="Arial"/>
                <a:cs typeface="Arial"/>
              </a:rPr>
              <a:t>compile</a:t>
            </a:r>
            <a:endParaRPr sz="1467">
              <a:latin typeface="Arial"/>
              <a:cs typeface="Arial"/>
            </a:endParaRPr>
          </a:p>
          <a:p>
            <a:pPr marL="386070" indent="-369137">
              <a:spcBef>
                <a:spcPts val="373"/>
              </a:spcBef>
              <a:buClr>
                <a:srgbClr val="00AFEF"/>
              </a:buClr>
              <a:buFont typeface="Wingdings"/>
              <a:buChar char=""/>
              <a:tabLst>
                <a:tab pos="386070" algn="l"/>
                <a:tab pos="386917" algn="l"/>
              </a:tabLst>
            </a:pPr>
            <a:r>
              <a:rPr sz="1733" spc="-7" dirty="0">
                <a:solidFill>
                  <a:srgbClr val="4D4E5C"/>
                </a:solidFill>
                <a:latin typeface="Arial"/>
                <a:cs typeface="Arial"/>
              </a:rPr>
              <a:t>Create a JAR</a:t>
            </a:r>
            <a:r>
              <a:rPr sz="1733" spc="20" dirty="0">
                <a:solidFill>
                  <a:srgbClr val="4D4E5C"/>
                </a:solidFill>
                <a:latin typeface="Arial"/>
                <a:cs typeface="Arial"/>
              </a:rPr>
              <a:t> </a:t>
            </a:r>
            <a:r>
              <a:rPr sz="1733" spc="-7" dirty="0">
                <a:solidFill>
                  <a:srgbClr val="4D4E5C"/>
                </a:solidFill>
                <a:latin typeface="Arial"/>
                <a:cs typeface="Arial"/>
              </a:rPr>
              <a:t>file</a:t>
            </a:r>
            <a:endParaRPr sz="1733">
              <a:latin typeface="Arial"/>
              <a:cs typeface="Arial"/>
            </a:endParaRPr>
          </a:p>
          <a:p>
            <a:pPr marL="1008355" lvl="1" indent="-381837">
              <a:spcBef>
                <a:spcPts val="460"/>
              </a:spcBef>
              <a:buClr>
                <a:srgbClr val="00AFEF"/>
              </a:buClr>
              <a:buFont typeface="Wingdings"/>
              <a:buChar char=""/>
              <a:tabLst>
                <a:tab pos="1008355" algn="l"/>
                <a:tab pos="1009201" algn="l"/>
              </a:tabLst>
            </a:pPr>
            <a:r>
              <a:rPr sz="1467" spc="-7" dirty="0">
                <a:solidFill>
                  <a:srgbClr val="4D4E5C"/>
                </a:solidFill>
                <a:latin typeface="Arial"/>
                <a:cs typeface="Arial"/>
              </a:rPr>
              <a:t>mvn</a:t>
            </a:r>
            <a:r>
              <a:rPr sz="1467" spc="-13" dirty="0">
                <a:solidFill>
                  <a:srgbClr val="4D4E5C"/>
                </a:solidFill>
                <a:latin typeface="Arial"/>
                <a:cs typeface="Arial"/>
              </a:rPr>
              <a:t> </a:t>
            </a:r>
            <a:r>
              <a:rPr sz="1467" dirty="0">
                <a:solidFill>
                  <a:srgbClr val="4D4E5C"/>
                </a:solidFill>
                <a:latin typeface="Arial"/>
                <a:cs typeface="Arial"/>
              </a:rPr>
              <a:t>package</a:t>
            </a:r>
            <a:endParaRPr sz="1467">
              <a:latin typeface="Arial"/>
              <a:cs typeface="Arial"/>
            </a:endParaRPr>
          </a:p>
          <a:p>
            <a:pPr marL="325112" indent="-308179">
              <a:spcBef>
                <a:spcPts val="373"/>
              </a:spcBef>
              <a:buClr>
                <a:srgbClr val="00AFEF"/>
              </a:buClr>
              <a:buFont typeface="Wingdings"/>
              <a:buChar char=""/>
              <a:tabLst>
                <a:tab pos="325112" algn="l"/>
                <a:tab pos="325959" algn="l"/>
              </a:tabLst>
            </a:pPr>
            <a:r>
              <a:rPr sz="1733" spc="-7" dirty="0">
                <a:solidFill>
                  <a:srgbClr val="4D4E5C"/>
                </a:solidFill>
                <a:latin typeface="Arial"/>
                <a:cs typeface="Arial"/>
              </a:rPr>
              <a:t>Run the</a:t>
            </a:r>
            <a:r>
              <a:rPr sz="1733" spc="13" dirty="0">
                <a:solidFill>
                  <a:srgbClr val="4D4E5C"/>
                </a:solidFill>
                <a:latin typeface="Arial"/>
                <a:cs typeface="Arial"/>
              </a:rPr>
              <a:t> </a:t>
            </a:r>
            <a:r>
              <a:rPr sz="1733" spc="-7" dirty="0">
                <a:solidFill>
                  <a:srgbClr val="4D4E5C"/>
                </a:solidFill>
                <a:latin typeface="Arial"/>
                <a:cs typeface="Arial"/>
              </a:rPr>
              <a:t>program</a:t>
            </a:r>
            <a:endParaRPr sz="1733">
              <a:latin typeface="Arial"/>
              <a:cs typeface="Arial"/>
            </a:endParaRPr>
          </a:p>
          <a:p>
            <a:pPr marL="1008355" lvl="1" indent="-381837">
              <a:spcBef>
                <a:spcPts val="460"/>
              </a:spcBef>
              <a:buClr>
                <a:srgbClr val="00AFEF"/>
              </a:buClr>
              <a:buFont typeface="Wingdings"/>
              <a:buChar char=""/>
              <a:tabLst>
                <a:tab pos="1008355" algn="l"/>
                <a:tab pos="1009201" algn="l"/>
              </a:tabLst>
            </a:pPr>
            <a:r>
              <a:rPr sz="1467" spc="-7" dirty="0">
                <a:solidFill>
                  <a:srgbClr val="4D4E5C"/>
                </a:solidFill>
                <a:latin typeface="Arial"/>
                <a:cs typeface="Arial"/>
              </a:rPr>
              <a:t>..\FirstProject\target\classes&gt;java</a:t>
            </a:r>
            <a:r>
              <a:rPr sz="1467" spc="80" dirty="0">
                <a:solidFill>
                  <a:srgbClr val="4D4E5C"/>
                </a:solidFill>
                <a:latin typeface="Arial"/>
                <a:cs typeface="Arial"/>
              </a:rPr>
              <a:t> </a:t>
            </a:r>
            <a:r>
              <a:rPr sz="1467" spc="-7" dirty="0">
                <a:solidFill>
                  <a:srgbClr val="4D4E5C"/>
                </a:solidFill>
                <a:latin typeface="Arial"/>
                <a:cs typeface="Arial"/>
              </a:rPr>
              <a:t>com.avitepa.FirstProject.App</a:t>
            </a:r>
            <a:endParaRPr sz="1467">
              <a:latin typeface="Arial"/>
              <a:cs typeface="Arial"/>
            </a:endParaRPr>
          </a:p>
          <a:p>
            <a:pPr marL="625671">
              <a:spcBef>
                <a:spcPts val="373"/>
              </a:spcBef>
            </a:pPr>
            <a:r>
              <a:rPr sz="1733" spc="-7" dirty="0">
                <a:solidFill>
                  <a:srgbClr val="4D4E5C"/>
                </a:solidFill>
                <a:latin typeface="Arial"/>
                <a:cs typeface="Arial"/>
              </a:rPr>
              <a:t>Hello</a:t>
            </a:r>
            <a:r>
              <a:rPr sz="1733" dirty="0">
                <a:solidFill>
                  <a:srgbClr val="4D4E5C"/>
                </a:solidFill>
                <a:latin typeface="Arial"/>
                <a:cs typeface="Arial"/>
              </a:rPr>
              <a:t> </a:t>
            </a:r>
            <a:r>
              <a:rPr sz="1733" spc="-7" dirty="0">
                <a:solidFill>
                  <a:srgbClr val="4D4E5C"/>
                </a:solidFill>
                <a:latin typeface="Arial"/>
                <a:cs typeface="Arial"/>
              </a:rPr>
              <a:t>World!</a:t>
            </a:r>
            <a:endParaRPr sz="1733">
              <a:latin typeface="Arial"/>
              <a:cs typeface="Arial"/>
            </a:endParaRPr>
          </a:p>
          <a:p>
            <a:pPr marL="386070" indent="-369137">
              <a:spcBef>
                <a:spcPts val="387"/>
              </a:spcBef>
              <a:buClr>
                <a:srgbClr val="00AFEF"/>
              </a:buClr>
              <a:buFont typeface="Wingdings"/>
              <a:buChar char=""/>
              <a:tabLst>
                <a:tab pos="386070" algn="l"/>
                <a:tab pos="386917" algn="l"/>
              </a:tabLst>
            </a:pPr>
            <a:r>
              <a:rPr sz="1733" spc="-7" dirty="0">
                <a:solidFill>
                  <a:srgbClr val="4D4E5C"/>
                </a:solidFill>
                <a:latin typeface="Arial"/>
                <a:cs typeface="Arial"/>
              </a:rPr>
              <a:t>Clean the project </a:t>
            </a:r>
            <a:r>
              <a:rPr sz="1733" spc="-13" dirty="0">
                <a:solidFill>
                  <a:srgbClr val="4D4E5C"/>
                </a:solidFill>
                <a:latin typeface="Arial"/>
                <a:cs typeface="Arial"/>
              </a:rPr>
              <a:t>(Remove </a:t>
            </a:r>
            <a:r>
              <a:rPr sz="1733" spc="-7" dirty="0">
                <a:solidFill>
                  <a:srgbClr val="4D4E5C"/>
                </a:solidFill>
                <a:latin typeface="Arial"/>
                <a:cs typeface="Arial"/>
              </a:rPr>
              <a:t>entire build</a:t>
            </a:r>
            <a:r>
              <a:rPr sz="1733" spc="187" dirty="0">
                <a:solidFill>
                  <a:srgbClr val="4D4E5C"/>
                </a:solidFill>
                <a:latin typeface="Arial"/>
                <a:cs typeface="Arial"/>
              </a:rPr>
              <a:t> </a:t>
            </a:r>
            <a:r>
              <a:rPr sz="1733" spc="-7" dirty="0">
                <a:solidFill>
                  <a:srgbClr val="4D4E5C"/>
                </a:solidFill>
                <a:latin typeface="Arial"/>
                <a:cs typeface="Arial"/>
              </a:rPr>
              <a:t>results)</a:t>
            </a:r>
            <a:endParaRPr sz="1733">
              <a:latin typeface="Arial"/>
              <a:cs typeface="Arial"/>
            </a:endParaRPr>
          </a:p>
          <a:p>
            <a:pPr marL="1008355" lvl="1" indent="-381837">
              <a:spcBef>
                <a:spcPts val="460"/>
              </a:spcBef>
              <a:buClr>
                <a:srgbClr val="00AFEF"/>
              </a:buClr>
              <a:buFont typeface="Wingdings"/>
              <a:buChar char=""/>
              <a:tabLst>
                <a:tab pos="1008355" algn="l"/>
                <a:tab pos="1009201" algn="l"/>
              </a:tabLst>
            </a:pPr>
            <a:r>
              <a:rPr sz="1467" spc="-7" dirty="0">
                <a:solidFill>
                  <a:srgbClr val="4D4E5C"/>
                </a:solidFill>
                <a:latin typeface="Arial"/>
                <a:cs typeface="Arial"/>
              </a:rPr>
              <a:t>mvn</a:t>
            </a:r>
            <a:r>
              <a:rPr sz="1467" spc="-13" dirty="0">
                <a:solidFill>
                  <a:srgbClr val="4D4E5C"/>
                </a:solidFill>
                <a:latin typeface="Arial"/>
                <a:cs typeface="Arial"/>
              </a:rPr>
              <a:t> </a:t>
            </a:r>
            <a:r>
              <a:rPr sz="1467" spc="-7" dirty="0">
                <a:solidFill>
                  <a:srgbClr val="4D4E5C"/>
                </a:solidFill>
                <a:latin typeface="Arial"/>
                <a:cs typeface="Arial"/>
              </a:rPr>
              <a:t>clean</a:t>
            </a:r>
            <a:endParaRPr sz="1467">
              <a:latin typeface="Arial"/>
              <a:cs typeface="Arial"/>
            </a:endParaRPr>
          </a:p>
          <a:p>
            <a:pPr marL="1008355" lvl="1" indent="-381837">
              <a:spcBef>
                <a:spcPts val="447"/>
              </a:spcBef>
              <a:buClr>
                <a:srgbClr val="00AFEF"/>
              </a:buClr>
              <a:buFont typeface="Wingdings"/>
              <a:buChar char=""/>
              <a:tabLst>
                <a:tab pos="1008355" algn="l"/>
                <a:tab pos="1009201" algn="l"/>
              </a:tabLst>
            </a:pPr>
            <a:r>
              <a:rPr sz="1467" spc="-7" dirty="0">
                <a:solidFill>
                  <a:srgbClr val="4D4E5C"/>
                </a:solidFill>
                <a:latin typeface="Arial"/>
                <a:cs typeface="Arial"/>
              </a:rPr>
              <a:t>Note: </a:t>
            </a:r>
            <a:r>
              <a:rPr sz="1467" dirty="0">
                <a:solidFill>
                  <a:srgbClr val="4D4E5C"/>
                </a:solidFill>
                <a:latin typeface="Arial"/>
                <a:cs typeface="Arial"/>
              </a:rPr>
              <a:t>Invokes just</a:t>
            </a:r>
            <a:r>
              <a:rPr sz="1467" spc="-87" dirty="0">
                <a:solidFill>
                  <a:srgbClr val="4D4E5C"/>
                </a:solidFill>
                <a:latin typeface="Arial"/>
                <a:cs typeface="Arial"/>
              </a:rPr>
              <a:t> </a:t>
            </a:r>
            <a:r>
              <a:rPr sz="1467" spc="-7" dirty="0">
                <a:solidFill>
                  <a:srgbClr val="4D4E5C"/>
                </a:solidFill>
                <a:latin typeface="Arial"/>
                <a:cs typeface="Arial"/>
              </a:rPr>
              <a:t>clean</a:t>
            </a:r>
            <a:endParaRPr sz="1467">
              <a:latin typeface="Arial"/>
              <a:cs typeface="Arial"/>
            </a:endParaRPr>
          </a:p>
          <a:p>
            <a:pPr marL="325112" indent="-308179">
              <a:spcBef>
                <a:spcPts val="373"/>
              </a:spcBef>
              <a:buClr>
                <a:srgbClr val="00AFEF"/>
              </a:buClr>
              <a:buFont typeface="Wingdings"/>
              <a:buChar char=""/>
              <a:tabLst>
                <a:tab pos="325112" algn="l"/>
                <a:tab pos="325959" algn="l"/>
              </a:tabLst>
            </a:pPr>
            <a:r>
              <a:rPr sz="1733" spc="-7" dirty="0">
                <a:solidFill>
                  <a:srgbClr val="4D4E5C"/>
                </a:solidFill>
                <a:latin typeface="Arial"/>
                <a:cs typeface="Arial"/>
              </a:rPr>
              <a:t>Rebuild</a:t>
            </a:r>
            <a:endParaRPr sz="1733">
              <a:latin typeface="Arial"/>
              <a:cs typeface="Arial"/>
            </a:endParaRPr>
          </a:p>
          <a:p>
            <a:pPr marL="1008355" lvl="1" indent="-381837">
              <a:spcBef>
                <a:spcPts val="460"/>
              </a:spcBef>
              <a:buClr>
                <a:srgbClr val="00AFEF"/>
              </a:buClr>
              <a:buFont typeface="Wingdings"/>
              <a:buChar char=""/>
              <a:tabLst>
                <a:tab pos="1008355" algn="l"/>
                <a:tab pos="1009201" algn="l"/>
              </a:tabLst>
            </a:pPr>
            <a:r>
              <a:rPr sz="1467" spc="-7" dirty="0">
                <a:solidFill>
                  <a:srgbClr val="4D4E5C"/>
                </a:solidFill>
                <a:latin typeface="Arial"/>
                <a:cs typeface="Arial"/>
              </a:rPr>
              <a:t>mvn</a:t>
            </a:r>
            <a:r>
              <a:rPr sz="1467" spc="-13" dirty="0">
                <a:solidFill>
                  <a:srgbClr val="4D4E5C"/>
                </a:solidFill>
                <a:latin typeface="Arial"/>
                <a:cs typeface="Arial"/>
              </a:rPr>
              <a:t> </a:t>
            </a:r>
            <a:r>
              <a:rPr sz="1467" dirty="0">
                <a:solidFill>
                  <a:srgbClr val="4D4E5C"/>
                </a:solidFill>
                <a:latin typeface="Arial"/>
                <a:cs typeface="Arial"/>
              </a:rPr>
              <a:t>package</a:t>
            </a:r>
            <a:endParaRPr sz="1467">
              <a:latin typeface="Arial"/>
              <a:cs typeface="Arial"/>
            </a:endParaRPr>
          </a:p>
          <a:p>
            <a:pPr marL="1008355" lvl="1" indent="-381837">
              <a:spcBef>
                <a:spcPts val="453"/>
              </a:spcBef>
              <a:buClr>
                <a:srgbClr val="00AFEF"/>
              </a:buClr>
              <a:buFont typeface="Wingdings"/>
              <a:buChar char=""/>
              <a:tabLst>
                <a:tab pos="1008355" algn="l"/>
                <a:tab pos="1009201" algn="l"/>
              </a:tabLst>
            </a:pPr>
            <a:r>
              <a:rPr sz="1467" spc="-13" dirty="0">
                <a:solidFill>
                  <a:srgbClr val="4D4E5C"/>
                </a:solidFill>
                <a:latin typeface="Arial"/>
                <a:cs typeface="Arial"/>
              </a:rPr>
              <a:t>Mvn </a:t>
            </a:r>
            <a:r>
              <a:rPr sz="1467" spc="-7" dirty="0">
                <a:solidFill>
                  <a:srgbClr val="4D4E5C"/>
                </a:solidFill>
                <a:latin typeface="Arial"/>
                <a:cs typeface="Arial"/>
              </a:rPr>
              <a:t>clean</a:t>
            </a:r>
            <a:r>
              <a:rPr sz="1467" spc="27" dirty="0">
                <a:solidFill>
                  <a:srgbClr val="4D4E5C"/>
                </a:solidFill>
                <a:latin typeface="Arial"/>
                <a:cs typeface="Arial"/>
              </a:rPr>
              <a:t> </a:t>
            </a:r>
            <a:r>
              <a:rPr sz="1467" dirty="0">
                <a:solidFill>
                  <a:srgbClr val="4D4E5C"/>
                </a:solidFill>
                <a:latin typeface="Arial"/>
                <a:cs typeface="Arial"/>
              </a:rPr>
              <a:t>package</a:t>
            </a:r>
            <a:endParaRPr sz="1467">
              <a:latin typeface="Arial"/>
              <a:cs typeface="Arial"/>
            </a:endParaRPr>
          </a:p>
          <a:p>
            <a:pPr marL="386070" indent="-369137">
              <a:spcBef>
                <a:spcPts val="373"/>
              </a:spcBef>
              <a:buClr>
                <a:srgbClr val="00AFEF"/>
              </a:buClr>
              <a:buFont typeface="Wingdings"/>
              <a:buChar char=""/>
              <a:tabLst>
                <a:tab pos="386070" algn="l"/>
                <a:tab pos="386917" algn="l"/>
              </a:tabLst>
            </a:pPr>
            <a:r>
              <a:rPr sz="1733" spc="-7" dirty="0">
                <a:solidFill>
                  <a:srgbClr val="4D4E5C"/>
                </a:solidFill>
                <a:latin typeface="Arial"/>
                <a:cs typeface="Arial"/>
              </a:rPr>
              <a:t>Running the</a:t>
            </a:r>
            <a:r>
              <a:rPr sz="1733" spc="40" dirty="0">
                <a:solidFill>
                  <a:srgbClr val="4D4E5C"/>
                </a:solidFill>
                <a:latin typeface="Arial"/>
                <a:cs typeface="Arial"/>
              </a:rPr>
              <a:t> </a:t>
            </a:r>
            <a:r>
              <a:rPr sz="1733" spc="-7" dirty="0">
                <a:solidFill>
                  <a:srgbClr val="4D4E5C"/>
                </a:solidFill>
                <a:latin typeface="Arial"/>
                <a:cs typeface="Arial"/>
              </a:rPr>
              <a:t>test</a:t>
            </a:r>
            <a:endParaRPr sz="1733">
              <a:latin typeface="Arial"/>
              <a:cs typeface="Arial"/>
            </a:endParaRPr>
          </a:p>
          <a:p>
            <a:pPr marL="1008355" lvl="1" indent="-381837">
              <a:spcBef>
                <a:spcPts val="453"/>
              </a:spcBef>
              <a:buClr>
                <a:srgbClr val="00AFEF"/>
              </a:buClr>
              <a:buFont typeface="Wingdings"/>
              <a:buChar char=""/>
              <a:tabLst>
                <a:tab pos="1008355" algn="l"/>
                <a:tab pos="1009201" algn="l"/>
              </a:tabLst>
            </a:pPr>
            <a:r>
              <a:rPr sz="1467" spc="-7" dirty="0">
                <a:solidFill>
                  <a:srgbClr val="4D4E5C"/>
                </a:solidFill>
                <a:latin typeface="Arial"/>
                <a:cs typeface="Arial"/>
              </a:rPr>
              <a:t>mvn</a:t>
            </a:r>
            <a:r>
              <a:rPr sz="1467" spc="-13" dirty="0">
                <a:solidFill>
                  <a:srgbClr val="4D4E5C"/>
                </a:solidFill>
                <a:latin typeface="Arial"/>
                <a:cs typeface="Arial"/>
              </a:rPr>
              <a:t> </a:t>
            </a:r>
            <a:r>
              <a:rPr sz="1467" dirty="0">
                <a:solidFill>
                  <a:srgbClr val="4D4E5C"/>
                </a:solidFill>
                <a:latin typeface="Arial"/>
                <a:cs typeface="Arial"/>
              </a:rPr>
              <a:t>test</a:t>
            </a:r>
            <a:endParaRPr sz="1467">
              <a:latin typeface="Arial"/>
              <a:cs typeface="Arial"/>
            </a:endParaRPr>
          </a:p>
          <a:p>
            <a:pPr marL="325112" indent="-308179">
              <a:spcBef>
                <a:spcPts val="373"/>
              </a:spcBef>
              <a:buClr>
                <a:srgbClr val="00AFEF"/>
              </a:buClr>
              <a:buFont typeface="Wingdings"/>
              <a:buChar char=""/>
              <a:tabLst>
                <a:tab pos="325112" algn="l"/>
                <a:tab pos="325959" algn="l"/>
              </a:tabLst>
            </a:pPr>
            <a:r>
              <a:rPr sz="1733" spc="-7" dirty="0">
                <a:solidFill>
                  <a:srgbClr val="4D4E5C"/>
                </a:solidFill>
                <a:latin typeface="Arial"/>
                <a:cs typeface="Arial"/>
              </a:rPr>
              <a:t>Create a</a:t>
            </a:r>
            <a:r>
              <a:rPr sz="1733" spc="27" dirty="0">
                <a:solidFill>
                  <a:srgbClr val="4D4E5C"/>
                </a:solidFill>
                <a:latin typeface="Arial"/>
                <a:cs typeface="Arial"/>
              </a:rPr>
              <a:t> </a:t>
            </a:r>
            <a:r>
              <a:rPr sz="1733" spc="-7" dirty="0">
                <a:solidFill>
                  <a:srgbClr val="4D4E5C"/>
                </a:solidFill>
                <a:latin typeface="Arial"/>
                <a:cs typeface="Arial"/>
              </a:rPr>
              <a:t>report</a:t>
            </a:r>
            <a:endParaRPr sz="1733">
              <a:latin typeface="Arial"/>
              <a:cs typeface="Arial"/>
            </a:endParaRPr>
          </a:p>
          <a:p>
            <a:pPr marL="1008355" lvl="1" indent="-381837">
              <a:spcBef>
                <a:spcPts val="460"/>
              </a:spcBef>
              <a:buClr>
                <a:srgbClr val="00AFEF"/>
              </a:buClr>
              <a:buFont typeface="Wingdings"/>
              <a:buChar char=""/>
              <a:tabLst>
                <a:tab pos="1008355" algn="l"/>
                <a:tab pos="1009201" algn="l"/>
              </a:tabLst>
            </a:pPr>
            <a:r>
              <a:rPr sz="1467" spc="-13" dirty="0">
                <a:solidFill>
                  <a:srgbClr val="4D4E5C"/>
                </a:solidFill>
                <a:latin typeface="Arial"/>
                <a:cs typeface="Arial"/>
              </a:rPr>
              <a:t>Mvn</a:t>
            </a:r>
            <a:r>
              <a:rPr sz="1467" spc="13" dirty="0">
                <a:solidFill>
                  <a:srgbClr val="4D4E5C"/>
                </a:solidFill>
                <a:latin typeface="Arial"/>
                <a:cs typeface="Arial"/>
              </a:rPr>
              <a:t> </a:t>
            </a:r>
            <a:r>
              <a:rPr sz="1467" spc="-7" dirty="0">
                <a:solidFill>
                  <a:srgbClr val="4D4E5C"/>
                </a:solidFill>
                <a:latin typeface="Arial"/>
                <a:cs typeface="Arial"/>
              </a:rPr>
              <a:t>site</a:t>
            </a:r>
            <a:endParaRPr sz="1467">
              <a:latin typeface="Arial"/>
              <a:cs typeface="Arial"/>
            </a:endParaRPr>
          </a:p>
        </p:txBody>
      </p:sp>
    </p:spTree>
    <p:extLst>
      <p:ext uri="{BB962C8B-B14F-4D97-AF65-F5344CB8AC3E}">
        <p14:creationId xmlns:p14="http://schemas.microsoft.com/office/powerpoint/2010/main" val="99076902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163782" y="307001"/>
            <a:ext cx="1274618" cy="479618"/>
          </a:xfrm>
          <a:prstGeom prst="rect">
            <a:avLst/>
          </a:prstGeom>
        </p:spPr>
        <p:txBody>
          <a:bodyPr vert="horz" wrap="square" lIns="0" tIns="17780" rIns="0" bIns="0" numCol="1" rtlCol="0" anchor="t" anchorCtr="0" compatLnSpc="1">
            <a:prstTxWarp prst="textNoShape">
              <a:avLst/>
            </a:prstTxWarp>
            <a:spAutoFit/>
          </a:bodyPr>
          <a:lstStyle/>
          <a:p>
            <a:pPr marL="16933">
              <a:spcBef>
                <a:spcPts val="140"/>
              </a:spcBef>
            </a:pPr>
            <a:r>
              <a:rPr dirty="0"/>
              <a:t>Quiz</a:t>
            </a:r>
          </a:p>
        </p:txBody>
      </p:sp>
      <p:sp>
        <p:nvSpPr>
          <p:cNvPr id="3" name="object 3"/>
          <p:cNvSpPr txBox="1"/>
          <p:nvPr/>
        </p:nvSpPr>
        <p:spPr>
          <a:xfrm>
            <a:off x="284208" y="892860"/>
            <a:ext cx="9330267" cy="5200953"/>
          </a:xfrm>
          <a:prstGeom prst="rect">
            <a:avLst/>
          </a:prstGeom>
        </p:spPr>
        <p:txBody>
          <a:bodyPr vert="horz" wrap="square" lIns="0" tIns="118533" rIns="0" bIns="0" rtlCol="0">
            <a:spAutoFit/>
          </a:bodyPr>
          <a:lstStyle/>
          <a:p>
            <a:pPr marL="474121" indent="-457189">
              <a:spcBef>
                <a:spcPts val="933"/>
              </a:spcBef>
              <a:buClr>
                <a:srgbClr val="00AFEF"/>
              </a:buClr>
              <a:buAutoNum type="arabicParenR"/>
              <a:tabLst>
                <a:tab pos="474121" algn="l"/>
              </a:tabLst>
            </a:pPr>
            <a:r>
              <a:rPr sz="2667" spc="-7" dirty="0">
                <a:solidFill>
                  <a:srgbClr val="4D4E5C"/>
                </a:solidFill>
                <a:latin typeface="Arial"/>
                <a:cs typeface="Arial"/>
              </a:rPr>
              <a:t>.m2 </a:t>
            </a:r>
            <a:r>
              <a:rPr sz="2667" dirty="0">
                <a:solidFill>
                  <a:srgbClr val="4D4E5C"/>
                </a:solidFill>
                <a:latin typeface="Arial"/>
                <a:cs typeface="Arial"/>
              </a:rPr>
              <a:t>repository which is local repository can be found</a:t>
            </a:r>
            <a:r>
              <a:rPr sz="2667" spc="-233" dirty="0">
                <a:solidFill>
                  <a:srgbClr val="4D4E5C"/>
                </a:solidFill>
                <a:latin typeface="Arial"/>
                <a:cs typeface="Arial"/>
              </a:rPr>
              <a:t> </a:t>
            </a:r>
            <a:r>
              <a:rPr sz="2667" dirty="0">
                <a:solidFill>
                  <a:srgbClr val="4D4E5C"/>
                </a:solidFill>
                <a:latin typeface="Arial"/>
                <a:cs typeface="Arial"/>
              </a:rPr>
              <a:t>inside</a:t>
            </a:r>
            <a:endParaRPr sz="2667">
              <a:latin typeface="Arial"/>
              <a:cs typeface="Arial"/>
            </a:endParaRPr>
          </a:p>
          <a:p>
            <a:pPr marL="474121" lvl="1" indent="-457189">
              <a:spcBef>
                <a:spcPts val="807"/>
              </a:spcBef>
              <a:buClr>
                <a:srgbClr val="00AFEF"/>
              </a:buClr>
              <a:buAutoNum type="alphaLcParenR"/>
              <a:tabLst>
                <a:tab pos="474121" algn="l"/>
              </a:tabLst>
            </a:pPr>
            <a:r>
              <a:rPr sz="2667" dirty="0">
                <a:solidFill>
                  <a:srgbClr val="4D4E5C"/>
                </a:solidFill>
                <a:latin typeface="Arial"/>
                <a:cs typeface="Arial"/>
              </a:rPr>
              <a:t>Maven home</a:t>
            </a:r>
            <a:r>
              <a:rPr sz="2667" spc="-67" dirty="0">
                <a:solidFill>
                  <a:srgbClr val="4D4E5C"/>
                </a:solidFill>
                <a:latin typeface="Arial"/>
                <a:cs typeface="Arial"/>
              </a:rPr>
              <a:t> </a:t>
            </a:r>
            <a:r>
              <a:rPr sz="2667" dirty="0">
                <a:solidFill>
                  <a:srgbClr val="4D4E5C"/>
                </a:solidFill>
                <a:latin typeface="Arial"/>
                <a:cs typeface="Arial"/>
              </a:rPr>
              <a:t>directory</a:t>
            </a:r>
            <a:endParaRPr sz="2667">
              <a:latin typeface="Arial"/>
              <a:cs typeface="Arial"/>
            </a:endParaRPr>
          </a:p>
          <a:p>
            <a:pPr marL="474121" lvl="1" indent="-457189">
              <a:spcBef>
                <a:spcPts val="800"/>
              </a:spcBef>
              <a:buClr>
                <a:srgbClr val="00AFEF"/>
              </a:buClr>
              <a:buAutoNum type="alphaLcParenR"/>
              <a:tabLst>
                <a:tab pos="474121" algn="l"/>
              </a:tabLst>
            </a:pPr>
            <a:r>
              <a:rPr sz="2667" dirty="0">
                <a:solidFill>
                  <a:srgbClr val="4D4E5C"/>
                </a:solidFill>
                <a:latin typeface="Arial"/>
                <a:cs typeface="Arial"/>
              </a:rPr>
              <a:t>Maven bin</a:t>
            </a:r>
            <a:r>
              <a:rPr sz="2667" spc="-33" dirty="0">
                <a:solidFill>
                  <a:srgbClr val="4D4E5C"/>
                </a:solidFill>
                <a:latin typeface="Arial"/>
                <a:cs typeface="Arial"/>
              </a:rPr>
              <a:t> </a:t>
            </a:r>
            <a:r>
              <a:rPr sz="2667" spc="-7" dirty="0">
                <a:solidFill>
                  <a:srgbClr val="4D4E5C"/>
                </a:solidFill>
                <a:latin typeface="Arial"/>
                <a:cs typeface="Arial"/>
              </a:rPr>
              <a:t>folder</a:t>
            </a:r>
            <a:endParaRPr sz="2667">
              <a:latin typeface="Arial"/>
              <a:cs typeface="Arial"/>
            </a:endParaRPr>
          </a:p>
          <a:p>
            <a:pPr marL="474121" lvl="1" indent="-457189">
              <a:spcBef>
                <a:spcPts val="800"/>
              </a:spcBef>
              <a:buClr>
                <a:srgbClr val="00AFEF"/>
              </a:buClr>
              <a:buAutoNum type="alphaLcParenR"/>
              <a:tabLst>
                <a:tab pos="473275" algn="l"/>
                <a:tab pos="474121" algn="l"/>
              </a:tabLst>
            </a:pPr>
            <a:r>
              <a:rPr sz="2667" dirty="0">
                <a:solidFill>
                  <a:srgbClr val="4D4E5C"/>
                </a:solidFill>
                <a:latin typeface="Arial"/>
                <a:cs typeface="Arial"/>
              </a:rPr>
              <a:t>users home</a:t>
            </a:r>
            <a:r>
              <a:rPr sz="2667" spc="-80" dirty="0">
                <a:solidFill>
                  <a:srgbClr val="4D4E5C"/>
                </a:solidFill>
                <a:latin typeface="Arial"/>
                <a:cs typeface="Arial"/>
              </a:rPr>
              <a:t> </a:t>
            </a:r>
            <a:r>
              <a:rPr sz="2667" dirty="0">
                <a:solidFill>
                  <a:srgbClr val="4D4E5C"/>
                </a:solidFill>
                <a:latin typeface="Arial"/>
                <a:cs typeface="Arial"/>
              </a:rPr>
              <a:t>directory</a:t>
            </a:r>
            <a:endParaRPr sz="2667">
              <a:latin typeface="Arial"/>
              <a:cs typeface="Arial"/>
            </a:endParaRPr>
          </a:p>
          <a:p>
            <a:pPr marL="474121" lvl="1" indent="-457189">
              <a:spcBef>
                <a:spcPts val="800"/>
              </a:spcBef>
              <a:buClr>
                <a:srgbClr val="00AFEF"/>
              </a:buClr>
              <a:buAutoNum type="alphaLcParenR"/>
              <a:tabLst>
                <a:tab pos="474121" algn="l"/>
              </a:tabLst>
            </a:pPr>
            <a:r>
              <a:rPr sz="2667" dirty="0">
                <a:solidFill>
                  <a:srgbClr val="4D4E5C"/>
                </a:solidFill>
                <a:latin typeface="Arial"/>
                <a:cs typeface="Arial"/>
              </a:rPr>
              <a:t>None of the</a:t>
            </a:r>
            <a:r>
              <a:rPr sz="2667" spc="-80" dirty="0">
                <a:solidFill>
                  <a:srgbClr val="4D4E5C"/>
                </a:solidFill>
                <a:latin typeface="Arial"/>
                <a:cs typeface="Arial"/>
              </a:rPr>
              <a:t> </a:t>
            </a:r>
            <a:r>
              <a:rPr sz="2667" dirty="0">
                <a:solidFill>
                  <a:srgbClr val="4D4E5C"/>
                </a:solidFill>
                <a:latin typeface="Arial"/>
                <a:cs typeface="Arial"/>
              </a:rPr>
              <a:t>above</a:t>
            </a:r>
            <a:endParaRPr sz="2667">
              <a:latin typeface="Arial"/>
              <a:cs typeface="Arial"/>
            </a:endParaRPr>
          </a:p>
          <a:p>
            <a:pPr>
              <a:spcBef>
                <a:spcPts val="47"/>
              </a:spcBef>
            </a:pPr>
            <a:endParaRPr sz="4133">
              <a:latin typeface="Times New Roman"/>
              <a:cs typeface="Times New Roman"/>
            </a:endParaRPr>
          </a:p>
          <a:p>
            <a:pPr marL="16933">
              <a:tabLst>
                <a:tab pos="3414521" algn="l"/>
              </a:tabLst>
            </a:pPr>
            <a:r>
              <a:rPr sz="2667" dirty="0">
                <a:solidFill>
                  <a:srgbClr val="4D4E5C"/>
                </a:solidFill>
                <a:latin typeface="Arial"/>
                <a:cs typeface="Arial"/>
              </a:rPr>
              <a:t>2) A </a:t>
            </a:r>
            <a:r>
              <a:rPr sz="2667" spc="-7" dirty="0">
                <a:solidFill>
                  <a:srgbClr val="4D4E5C"/>
                </a:solidFill>
                <a:latin typeface="Arial"/>
                <a:cs typeface="Arial"/>
              </a:rPr>
              <a:t>unit </a:t>
            </a:r>
            <a:r>
              <a:rPr sz="2667" dirty="0">
                <a:solidFill>
                  <a:srgbClr val="4D4E5C"/>
                </a:solidFill>
                <a:latin typeface="Arial"/>
                <a:cs typeface="Arial"/>
              </a:rPr>
              <a:t>of</a:t>
            </a:r>
            <a:r>
              <a:rPr sz="2667" spc="-313" dirty="0">
                <a:solidFill>
                  <a:srgbClr val="4D4E5C"/>
                </a:solidFill>
                <a:latin typeface="Arial"/>
                <a:cs typeface="Arial"/>
              </a:rPr>
              <a:t> </a:t>
            </a:r>
            <a:r>
              <a:rPr sz="2667" dirty="0">
                <a:solidFill>
                  <a:srgbClr val="4D4E5C"/>
                </a:solidFill>
                <a:latin typeface="Arial"/>
                <a:cs typeface="Arial"/>
              </a:rPr>
              <a:t>work/</a:t>
            </a:r>
            <a:r>
              <a:rPr sz="2667" spc="-40" dirty="0">
                <a:solidFill>
                  <a:srgbClr val="4D4E5C"/>
                </a:solidFill>
                <a:latin typeface="Arial"/>
                <a:cs typeface="Arial"/>
              </a:rPr>
              <a:t> </a:t>
            </a:r>
            <a:r>
              <a:rPr sz="2667" dirty="0">
                <a:solidFill>
                  <a:srgbClr val="4D4E5C"/>
                </a:solidFill>
                <a:latin typeface="Arial"/>
                <a:cs typeface="Arial"/>
              </a:rPr>
              <a:t>task	</a:t>
            </a:r>
            <a:r>
              <a:rPr sz="2667" spc="-7" dirty="0">
                <a:solidFill>
                  <a:srgbClr val="4D4E5C"/>
                </a:solidFill>
                <a:latin typeface="Arial"/>
                <a:cs typeface="Arial"/>
              </a:rPr>
              <a:t>in Maven </a:t>
            </a:r>
            <a:r>
              <a:rPr sz="2667" dirty="0">
                <a:solidFill>
                  <a:srgbClr val="4D4E5C"/>
                </a:solidFill>
                <a:latin typeface="Arial"/>
                <a:cs typeface="Arial"/>
              </a:rPr>
              <a:t>is called</a:t>
            </a:r>
            <a:r>
              <a:rPr sz="2667" spc="-33" dirty="0">
                <a:solidFill>
                  <a:srgbClr val="4D4E5C"/>
                </a:solidFill>
                <a:latin typeface="Arial"/>
                <a:cs typeface="Arial"/>
              </a:rPr>
              <a:t> </a:t>
            </a:r>
            <a:r>
              <a:rPr sz="2667" dirty="0">
                <a:solidFill>
                  <a:srgbClr val="4D4E5C"/>
                </a:solidFill>
                <a:latin typeface="Arial"/>
                <a:cs typeface="Arial"/>
              </a:rPr>
              <a:t>as</a:t>
            </a:r>
            <a:endParaRPr sz="2667">
              <a:latin typeface="Arial"/>
              <a:cs typeface="Arial"/>
            </a:endParaRPr>
          </a:p>
          <a:p>
            <a:pPr>
              <a:spcBef>
                <a:spcPts val="53"/>
              </a:spcBef>
            </a:pPr>
            <a:endParaRPr sz="4133">
              <a:latin typeface="Times New Roman"/>
              <a:cs typeface="Times New Roman"/>
            </a:endParaRPr>
          </a:p>
          <a:p>
            <a:pPr marL="474121" indent="-457189">
              <a:buClr>
                <a:srgbClr val="00AFEF"/>
              </a:buClr>
              <a:buAutoNum type="alphaLcParenR"/>
              <a:tabLst>
                <a:tab pos="474121" algn="l"/>
              </a:tabLst>
            </a:pPr>
            <a:r>
              <a:rPr sz="2667" spc="-73" dirty="0">
                <a:solidFill>
                  <a:srgbClr val="4D4E5C"/>
                </a:solidFill>
                <a:latin typeface="Arial"/>
                <a:cs typeface="Arial"/>
              </a:rPr>
              <a:t>Task</a:t>
            </a:r>
            <a:endParaRPr sz="2667">
              <a:latin typeface="Arial"/>
              <a:cs typeface="Arial"/>
            </a:endParaRPr>
          </a:p>
          <a:p>
            <a:pPr marL="474121" indent="-457189">
              <a:spcBef>
                <a:spcPts val="800"/>
              </a:spcBef>
              <a:buClr>
                <a:srgbClr val="00AFEF"/>
              </a:buClr>
              <a:buAutoNum type="alphaLcParenR"/>
              <a:tabLst>
                <a:tab pos="474121" algn="l"/>
              </a:tabLst>
            </a:pPr>
            <a:r>
              <a:rPr sz="2667" dirty="0">
                <a:solidFill>
                  <a:srgbClr val="4D4E5C"/>
                </a:solidFill>
                <a:latin typeface="Arial"/>
                <a:cs typeface="Arial"/>
              </a:rPr>
              <a:t>goal</a:t>
            </a:r>
            <a:endParaRPr sz="2667">
              <a:latin typeface="Arial"/>
              <a:cs typeface="Arial"/>
            </a:endParaRPr>
          </a:p>
        </p:txBody>
      </p:sp>
    </p:spTree>
    <p:extLst>
      <p:ext uri="{BB962C8B-B14F-4D97-AF65-F5344CB8AC3E}">
        <p14:creationId xmlns:p14="http://schemas.microsoft.com/office/powerpoint/2010/main" val="255732784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979055" y="307001"/>
            <a:ext cx="1228436" cy="479618"/>
          </a:xfrm>
          <a:prstGeom prst="rect">
            <a:avLst/>
          </a:prstGeom>
        </p:spPr>
        <p:txBody>
          <a:bodyPr vert="horz" wrap="square" lIns="0" tIns="17780" rIns="0" bIns="0" numCol="1" rtlCol="0" anchor="t" anchorCtr="0" compatLnSpc="1">
            <a:prstTxWarp prst="textNoShape">
              <a:avLst/>
            </a:prstTxWarp>
            <a:spAutoFit/>
          </a:bodyPr>
          <a:lstStyle/>
          <a:p>
            <a:pPr marL="16933">
              <a:spcBef>
                <a:spcPts val="140"/>
              </a:spcBef>
            </a:pPr>
            <a:r>
              <a:rPr dirty="0"/>
              <a:t>Quiz</a:t>
            </a:r>
          </a:p>
        </p:txBody>
      </p:sp>
      <p:sp>
        <p:nvSpPr>
          <p:cNvPr id="3" name="object 3"/>
          <p:cNvSpPr txBox="1"/>
          <p:nvPr/>
        </p:nvSpPr>
        <p:spPr>
          <a:xfrm>
            <a:off x="284209" y="994155"/>
            <a:ext cx="11113345" cy="2911310"/>
          </a:xfrm>
          <a:prstGeom prst="rect">
            <a:avLst/>
          </a:prstGeom>
        </p:spPr>
        <p:txBody>
          <a:bodyPr vert="horz" wrap="square" lIns="0" tIns="17780" rIns="0" bIns="0" rtlCol="0">
            <a:spAutoFit/>
          </a:bodyPr>
          <a:lstStyle/>
          <a:p>
            <a:pPr marL="16933">
              <a:spcBef>
                <a:spcPts val="140"/>
              </a:spcBef>
              <a:tabLst>
                <a:tab pos="625671" algn="l"/>
                <a:tab pos="2073435" algn="l"/>
              </a:tabLst>
            </a:pPr>
            <a:r>
              <a:rPr sz="2667" dirty="0">
                <a:solidFill>
                  <a:srgbClr val="4D4E5C"/>
                </a:solidFill>
                <a:latin typeface="Arial"/>
                <a:cs typeface="Arial"/>
              </a:rPr>
              <a:t>3)	Give</a:t>
            </a:r>
            <a:r>
              <a:rPr sz="2667" spc="-13" dirty="0">
                <a:solidFill>
                  <a:srgbClr val="4D4E5C"/>
                </a:solidFill>
                <a:latin typeface="Arial"/>
                <a:cs typeface="Arial"/>
              </a:rPr>
              <a:t> </a:t>
            </a:r>
            <a:r>
              <a:rPr sz="2667" dirty="0">
                <a:solidFill>
                  <a:srgbClr val="4D4E5C"/>
                </a:solidFill>
                <a:latin typeface="Arial"/>
                <a:cs typeface="Arial"/>
              </a:rPr>
              <a:t>the	proper sequence of attributes of POM </a:t>
            </a:r>
            <a:r>
              <a:rPr sz="2667" spc="-7" dirty="0">
                <a:solidFill>
                  <a:srgbClr val="4D4E5C"/>
                </a:solidFill>
                <a:latin typeface="Arial"/>
                <a:cs typeface="Arial"/>
              </a:rPr>
              <a:t>file </a:t>
            </a:r>
            <a:r>
              <a:rPr sz="2667" dirty="0">
                <a:solidFill>
                  <a:srgbClr val="4D4E5C"/>
                </a:solidFill>
                <a:latin typeface="Arial"/>
                <a:cs typeface="Arial"/>
              </a:rPr>
              <a:t>which identifies</a:t>
            </a:r>
            <a:r>
              <a:rPr sz="2667" spc="-267" dirty="0">
                <a:solidFill>
                  <a:srgbClr val="4D4E5C"/>
                </a:solidFill>
                <a:latin typeface="Arial"/>
                <a:cs typeface="Arial"/>
              </a:rPr>
              <a:t> </a:t>
            </a:r>
            <a:r>
              <a:rPr sz="2667" dirty="0">
                <a:solidFill>
                  <a:srgbClr val="4D4E5C"/>
                </a:solidFill>
                <a:latin typeface="Arial"/>
                <a:cs typeface="Arial"/>
              </a:rPr>
              <a:t>an</a:t>
            </a:r>
            <a:endParaRPr sz="2667" dirty="0">
              <a:latin typeface="Arial"/>
              <a:cs typeface="Arial"/>
            </a:endParaRPr>
          </a:p>
          <a:p>
            <a:pPr marL="16933"/>
            <a:r>
              <a:rPr sz="2667" dirty="0">
                <a:solidFill>
                  <a:srgbClr val="4D4E5C"/>
                </a:solidFill>
                <a:latin typeface="Arial"/>
                <a:cs typeface="Arial"/>
              </a:rPr>
              <a:t>Object</a:t>
            </a:r>
            <a:r>
              <a:rPr sz="2667" spc="-47" dirty="0">
                <a:solidFill>
                  <a:srgbClr val="4D4E5C"/>
                </a:solidFill>
                <a:latin typeface="Arial"/>
                <a:cs typeface="Arial"/>
              </a:rPr>
              <a:t> </a:t>
            </a:r>
            <a:r>
              <a:rPr sz="2667" dirty="0">
                <a:solidFill>
                  <a:srgbClr val="4D4E5C"/>
                </a:solidFill>
                <a:latin typeface="Arial"/>
                <a:cs typeface="Arial"/>
              </a:rPr>
              <a:t>properly</a:t>
            </a:r>
            <a:endParaRPr sz="2667" dirty="0">
              <a:latin typeface="Arial"/>
              <a:cs typeface="Arial"/>
            </a:endParaRPr>
          </a:p>
          <a:p>
            <a:pPr>
              <a:spcBef>
                <a:spcPts val="47"/>
              </a:spcBef>
            </a:pPr>
            <a:endParaRPr sz="4133" dirty="0">
              <a:latin typeface="Times New Roman"/>
              <a:cs typeface="Times New Roman"/>
            </a:endParaRPr>
          </a:p>
          <a:p>
            <a:pPr marL="409776" indent="-392844">
              <a:buAutoNum type="alphaLcParenR"/>
              <a:tabLst>
                <a:tab pos="410623" algn="l"/>
              </a:tabLst>
            </a:pPr>
            <a:r>
              <a:rPr sz="2667" spc="-20" dirty="0">
                <a:solidFill>
                  <a:srgbClr val="4D4E5C"/>
                </a:solidFill>
                <a:latin typeface="Arial"/>
                <a:cs typeface="Arial"/>
              </a:rPr>
              <a:t>Version</a:t>
            </a:r>
            <a:endParaRPr sz="2667" dirty="0">
              <a:latin typeface="Arial"/>
              <a:cs typeface="Arial"/>
            </a:endParaRPr>
          </a:p>
          <a:p>
            <a:pPr marL="410623" indent="-393690">
              <a:spcBef>
                <a:spcPts val="807"/>
              </a:spcBef>
              <a:buAutoNum type="alphaLcParenR"/>
              <a:tabLst>
                <a:tab pos="411470" algn="l"/>
              </a:tabLst>
            </a:pPr>
            <a:r>
              <a:rPr sz="2667" dirty="0">
                <a:solidFill>
                  <a:srgbClr val="4D4E5C"/>
                </a:solidFill>
                <a:latin typeface="Arial"/>
                <a:cs typeface="Arial"/>
              </a:rPr>
              <a:t>groupId</a:t>
            </a:r>
            <a:endParaRPr sz="2667" dirty="0">
              <a:latin typeface="Arial"/>
              <a:cs typeface="Arial"/>
            </a:endParaRPr>
          </a:p>
          <a:p>
            <a:pPr marL="390304" indent="-373371">
              <a:spcBef>
                <a:spcPts val="800"/>
              </a:spcBef>
              <a:buAutoNum type="alphaLcParenR"/>
              <a:tabLst>
                <a:tab pos="391150" algn="l"/>
              </a:tabLst>
            </a:pPr>
            <a:r>
              <a:rPr sz="2667" spc="-7" dirty="0">
                <a:solidFill>
                  <a:srgbClr val="4D4E5C"/>
                </a:solidFill>
                <a:latin typeface="Arial"/>
                <a:cs typeface="Arial"/>
              </a:rPr>
              <a:t>artifactId</a:t>
            </a:r>
            <a:endParaRPr sz="2667" dirty="0">
              <a:latin typeface="Arial"/>
              <a:cs typeface="Arial"/>
            </a:endParaRPr>
          </a:p>
        </p:txBody>
      </p:sp>
    </p:spTree>
    <p:extLst>
      <p:ext uri="{BB962C8B-B14F-4D97-AF65-F5344CB8AC3E}">
        <p14:creationId xmlns:p14="http://schemas.microsoft.com/office/powerpoint/2010/main" val="20317813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302327" y="307001"/>
            <a:ext cx="3923028" cy="479618"/>
          </a:xfrm>
          <a:prstGeom prst="rect">
            <a:avLst/>
          </a:prstGeom>
        </p:spPr>
        <p:txBody>
          <a:bodyPr vert="horz" wrap="square" lIns="0" tIns="17780" rIns="0" bIns="0" numCol="1" rtlCol="0" anchor="t" anchorCtr="0" compatLnSpc="1">
            <a:prstTxWarp prst="textNoShape">
              <a:avLst/>
            </a:prstTxWarp>
            <a:spAutoFit/>
          </a:bodyPr>
          <a:lstStyle/>
          <a:p>
            <a:pPr marL="16933">
              <a:spcBef>
                <a:spcPts val="140"/>
              </a:spcBef>
            </a:pPr>
            <a:r>
              <a:rPr dirty="0"/>
              <a:t>Continuous</a:t>
            </a:r>
            <a:r>
              <a:rPr spc="-107" dirty="0"/>
              <a:t> </a:t>
            </a:r>
            <a:r>
              <a:rPr dirty="0"/>
              <a:t>integration</a:t>
            </a:r>
          </a:p>
        </p:txBody>
      </p:sp>
      <p:sp>
        <p:nvSpPr>
          <p:cNvPr id="3" name="object 3"/>
          <p:cNvSpPr txBox="1"/>
          <p:nvPr/>
        </p:nvSpPr>
        <p:spPr>
          <a:xfrm>
            <a:off x="444329" y="931265"/>
            <a:ext cx="11108267" cy="5213629"/>
          </a:xfrm>
          <a:prstGeom prst="rect">
            <a:avLst/>
          </a:prstGeom>
        </p:spPr>
        <p:txBody>
          <a:bodyPr vert="horz" wrap="square" lIns="0" tIns="16087" rIns="0" bIns="0" rtlCol="0">
            <a:spAutoFit/>
          </a:bodyPr>
          <a:lstStyle/>
          <a:p>
            <a:pPr marL="325112" indent="-308179">
              <a:lnSpc>
                <a:spcPts val="2740"/>
              </a:lnSpc>
              <a:spcBef>
                <a:spcPts val="127"/>
              </a:spcBef>
              <a:buClr>
                <a:srgbClr val="00AFEF"/>
              </a:buClr>
              <a:buFont typeface="Wingdings"/>
              <a:buChar char=""/>
              <a:tabLst>
                <a:tab pos="325959" algn="l"/>
              </a:tabLst>
            </a:pPr>
            <a:r>
              <a:rPr sz="2533" spc="-7" dirty="0">
                <a:solidFill>
                  <a:srgbClr val="4D4E5C"/>
                </a:solidFill>
                <a:latin typeface="Arial"/>
                <a:cs typeface="Arial"/>
              </a:rPr>
              <a:t>In Continuous Integration approach, for </a:t>
            </a:r>
            <a:r>
              <a:rPr sz="2533" dirty="0">
                <a:solidFill>
                  <a:srgbClr val="4D4E5C"/>
                </a:solidFill>
                <a:latin typeface="Arial"/>
                <a:cs typeface="Arial"/>
              </a:rPr>
              <a:t>every </a:t>
            </a:r>
            <a:r>
              <a:rPr sz="2533" spc="-7" dirty="0">
                <a:solidFill>
                  <a:srgbClr val="4D4E5C"/>
                </a:solidFill>
                <a:latin typeface="Arial"/>
                <a:cs typeface="Arial"/>
              </a:rPr>
              <a:t>commit, the system</a:t>
            </a:r>
            <a:r>
              <a:rPr sz="2533" spc="313" dirty="0">
                <a:solidFill>
                  <a:srgbClr val="4D4E5C"/>
                </a:solidFill>
                <a:latin typeface="Arial"/>
                <a:cs typeface="Arial"/>
              </a:rPr>
              <a:t> </a:t>
            </a:r>
            <a:r>
              <a:rPr sz="2533" spc="-7" dirty="0">
                <a:solidFill>
                  <a:srgbClr val="4D4E5C"/>
                </a:solidFill>
                <a:latin typeface="Arial"/>
                <a:cs typeface="Arial"/>
              </a:rPr>
              <a:t>under</a:t>
            </a:r>
            <a:endParaRPr sz="2533">
              <a:latin typeface="Arial"/>
              <a:cs typeface="Arial"/>
            </a:endParaRPr>
          </a:p>
          <a:p>
            <a:pPr marL="325112">
              <a:lnSpc>
                <a:spcPts val="2740"/>
              </a:lnSpc>
            </a:pPr>
            <a:r>
              <a:rPr sz="2533" spc="-7" dirty="0">
                <a:solidFill>
                  <a:srgbClr val="4D4E5C"/>
                </a:solidFill>
                <a:latin typeface="Arial"/>
                <a:cs typeface="Arial"/>
              </a:rPr>
              <a:t>goes the following</a:t>
            </a:r>
            <a:r>
              <a:rPr sz="2533" spc="113" dirty="0">
                <a:solidFill>
                  <a:srgbClr val="4D4E5C"/>
                </a:solidFill>
                <a:latin typeface="Arial"/>
                <a:cs typeface="Arial"/>
              </a:rPr>
              <a:t> </a:t>
            </a:r>
            <a:r>
              <a:rPr sz="2533" spc="-7" dirty="0">
                <a:solidFill>
                  <a:srgbClr val="4D4E5C"/>
                </a:solidFill>
                <a:latin typeface="Arial"/>
                <a:cs typeface="Arial"/>
              </a:rPr>
              <a:t>stages:</a:t>
            </a:r>
            <a:endParaRPr sz="2533">
              <a:latin typeface="Arial"/>
              <a:cs typeface="Arial"/>
            </a:endParaRPr>
          </a:p>
          <a:p>
            <a:pPr>
              <a:spcBef>
                <a:spcPts val="53"/>
              </a:spcBef>
            </a:pPr>
            <a:endParaRPr sz="3000">
              <a:latin typeface="Times New Roman"/>
              <a:cs typeface="Times New Roman"/>
            </a:endParaRPr>
          </a:p>
          <a:p>
            <a:pPr marL="1008355" lvl="1" indent="-381837">
              <a:buClr>
                <a:srgbClr val="00AFEF"/>
              </a:buClr>
              <a:buFont typeface="Wingdings"/>
              <a:buChar char=""/>
              <a:tabLst>
                <a:tab pos="1008355" algn="l"/>
                <a:tab pos="1009201" algn="l"/>
              </a:tabLst>
            </a:pPr>
            <a:r>
              <a:rPr sz="2267" spc="-7" dirty="0">
                <a:solidFill>
                  <a:srgbClr val="4D4E5C"/>
                </a:solidFill>
                <a:latin typeface="Arial"/>
                <a:cs typeface="Arial"/>
              </a:rPr>
              <a:t>Integrated: </a:t>
            </a:r>
            <a:r>
              <a:rPr sz="2267" dirty="0">
                <a:solidFill>
                  <a:srgbClr val="4D4E5C"/>
                </a:solidFill>
                <a:latin typeface="Arial"/>
                <a:cs typeface="Arial"/>
              </a:rPr>
              <a:t>All changes done so </a:t>
            </a:r>
            <a:r>
              <a:rPr sz="2267" spc="-7" dirty="0">
                <a:solidFill>
                  <a:srgbClr val="4D4E5C"/>
                </a:solidFill>
                <a:latin typeface="Arial"/>
                <a:cs typeface="Arial"/>
              </a:rPr>
              <a:t>far </a:t>
            </a:r>
            <a:r>
              <a:rPr sz="2267" dirty="0">
                <a:solidFill>
                  <a:srgbClr val="4D4E5C"/>
                </a:solidFill>
                <a:latin typeface="Arial"/>
                <a:cs typeface="Arial"/>
              </a:rPr>
              <a:t>are combined </a:t>
            </a:r>
            <a:r>
              <a:rPr sz="2267" spc="-7" dirty="0">
                <a:solidFill>
                  <a:srgbClr val="4D4E5C"/>
                </a:solidFill>
                <a:latin typeface="Arial"/>
                <a:cs typeface="Arial"/>
              </a:rPr>
              <a:t>into the integrated</a:t>
            </a:r>
            <a:r>
              <a:rPr sz="2267" spc="40" dirty="0">
                <a:solidFill>
                  <a:srgbClr val="4D4E5C"/>
                </a:solidFill>
                <a:latin typeface="Arial"/>
                <a:cs typeface="Arial"/>
              </a:rPr>
              <a:t> </a:t>
            </a:r>
            <a:r>
              <a:rPr sz="2267" dirty="0">
                <a:solidFill>
                  <a:srgbClr val="4D4E5C"/>
                </a:solidFill>
                <a:latin typeface="Arial"/>
                <a:cs typeface="Arial"/>
              </a:rPr>
              <a:t>code</a:t>
            </a:r>
            <a:endParaRPr sz="2267">
              <a:latin typeface="Arial"/>
              <a:cs typeface="Arial"/>
            </a:endParaRPr>
          </a:p>
          <a:p>
            <a:pPr lvl="1">
              <a:spcBef>
                <a:spcPts val="13"/>
              </a:spcBef>
              <a:buClr>
                <a:srgbClr val="00AFEF"/>
              </a:buClr>
              <a:buFont typeface="Wingdings"/>
              <a:buChar char=""/>
            </a:pPr>
            <a:endParaRPr sz="2800">
              <a:latin typeface="Times New Roman"/>
              <a:cs typeface="Times New Roman"/>
            </a:endParaRPr>
          </a:p>
          <a:p>
            <a:pPr marL="1008355" lvl="1" indent="-381837">
              <a:buClr>
                <a:srgbClr val="00AFEF"/>
              </a:buClr>
              <a:buFont typeface="Wingdings"/>
              <a:buChar char=""/>
              <a:tabLst>
                <a:tab pos="1008355" algn="l"/>
                <a:tab pos="1009201" algn="l"/>
              </a:tabLst>
            </a:pPr>
            <a:r>
              <a:rPr sz="2267" dirty="0">
                <a:solidFill>
                  <a:srgbClr val="4D4E5C"/>
                </a:solidFill>
                <a:latin typeface="Arial"/>
                <a:cs typeface="Arial"/>
              </a:rPr>
              <a:t>Build: </a:t>
            </a:r>
            <a:r>
              <a:rPr sz="2267" spc="7" dirty="0">
                <a:solidFill>
                  <a:srgbClr val="4D4E5C"/>
                </a:solidFill>
                <a:latin typeface="Arial"/>
                <a:cs typeface="Arial"/>
              </a:rPr>
              <a:t>The </a:t>
            </a:r>
            <a:r>
              <a:rPr sz="2267" spc="-7" dirty="0">
                <a:solidFill>
                  <a:srgbClr val="4D4E5C"/>
                </a:solidFill>
                <a:latin typeface="Arial"/>
                <a:cs typeface="Arial"/>
              </a:rPr>
              <a:t>integrated </a:t>
            </a:r>
            <a:r>
              <a:rPr sz="2267" dirty="0">
                <a:solidFill>
                  <a:srgbClr val="4D4E5C"/>
                </a:solidFill>
                <a:latin typeface="Arial"/>
                <a:cs typeface="Arial"/>
              </a:rPr>
              <a:t>code is </a:t>
            </a:r>
            <a:r>
              <a:rPr sz="2267" spc="-7" dirty="0">
                <a:solidFill>
                  <a:srgbClr val="4D4E5C"/>
                </a:solidFill>
                <a:latin typeface="Arial"/>
                <a:cs typeface="Arial"/>
              </a:rPr>
              <a:t>the </a:t>
            </a:r>
            <a:r>
              <a:rPr sz="2267" dirty="0">
                <a:solidFill>
                  <a:srgbClr val="4D4E5C"/>
                </a:solidFill>
                <a:latin typeface="Arial"/>
                <a:cs typeface="Arial"/>
              </a:rPr>
              <a:t>compiled </a:t>
            </a:r>
            <a:r>
              <a:rPr sz="2267" spc="-7" dirty="0">
                <a:solidFill>
                  <a:srgbClr val="4D4E5C"/>
                </a:solidFill>
                <a:latin typeface="Arial"/>
                <a:cs typeface="Arial"/>
              </a:rPr>
              <a:t>into </a:t>
            </a:r>
            <a:r>
              <a:rPr sz="2267" dirty="0">
                <a:solidFill>
                  <a:srgbClr val="4D4E5C"/>
                </a:solidFill>
                <a:latin typeface="Arial"/>
                <a:cs typeface="Arial"/>
              </a:rPr>
              <a:t>an</a:t>
            </a:r>
            <a:r>
              <a:rPr sz="2267" spc="-13" dirty="0">
                <a:solidFill>
                  <a:srgbClr val="4D4E5C"/>
                </a:solidFill>
                <a:latin typeface="Arial"/>
                <a:cs typeface="Arial"/>
              </a:rPr>
              <a:t> </a:t>
            </a:r>
            <a:r>
              <a:rPr sz="2267" dirty="0">
                <a:solidFill>
                  <a:srgbClr val="4D4E5C"/>
                </a:solidFill>
                <a:latin typeface="Arial"/>
                <a:cs typeface="Arial"/>
              </a:rPr>
              <a:t>package</a:t>
            </a:r>
            <a:endParaRPr sz="2267">
              <a:latin typeface="Arial"/>
              <a:cs typeface="Arial"/>
            </a:endParaRPr>
          </a:p>
          <a:p>
            <a:pPr lvl="1">
              <a:spcBef>
                <a:spcPts val="13"/>
              </a:spcBef>
              <a:buClr>
                <a:srgbClr val="00AFEF"/>
              </a:buClr>
              <a:buFont typeface="Wingdings"/>
              <a:buChar char=""/>
            </a:pPr>
            <a:endParaRPr sz="2800">
              <a:latin typeface="Times New Roman"/>
              <a:cs typeface="Times New Roman"/>
            </a:endParaRPr>
          </a:p>
          <a:p>
            <a:pPr marL="1008355" lvl="1" indent="-381837">
              <a:buClr>
                <a:srgbClr val="00AFEF"/>
              </a:buClr>
              <a:buFont typeface="Wingdings"/>
              <a:buChar char=""/>
              <a:tabLst>
                <a:tab pos="1008355" algn="l"/>
                <a:tab pos="1009201" algn="l"/>
              </a:tabLst>
            </a:pPr>
            <a:r>
              <a:rPr sz="2267" spc="-40" dirty="0">
                <a:solidFill>
                  <a:srgbClr val="4D4E5C"/>
                </a:solidFill>
                <a:latin typeface="Arial"/>
                <a:cs typeface="Arial"/>
              </a:rPr>
              <a:t>Tested: </a:t>
            </a:r>
            <a:r>
              <a:rPr sz="2267" dirty="0">
                <a:solidFill>
                  <a:srgbClr val="4D4E5C"/>
                </a:solidFill>
                <a:latin typeface="Arial"/>
                <a:cs typeface="Arial"/>
              </a:rPr>
              <a:t>An Automated </a:t>
            </a:r>
            <a:r>
              <a:rPr sz="2267" spc="-7" dirty="0">
                <a:solidFill>
                  <a:srgbClr val="4D4E5C"/>
                </a:solidFill>
                <a:latin typeface="Arial"/>
                <a:cs typeface="Arial"/>
              </a:rPr>
              <a:t>test </a:t>
            </a:r>
            <a:r>
              <a:rPr sz="2267" dirty="0">
                <a:solidFill>
                  <a:srgbClr val="4D4E5C"/>
                </a:solidFill>
                <a:latin typeface="Arial"/>
                <a:cs typeface="Arial"/>
              </a:rPr>
              <a:t>suit </a:t>
            </a:r>
            <a:r>
              <a:rPr sz="2267" spc="-7" dirty="0">
                <a:solidFill>
                  <a:srgbClr val="4D4E5C"/>
                </a:solidFill>
                <a:latin typeface="Arial"/>
                <a:cs typeface="Arial"/>
              </a:rPr>
              <a:t>tests </a:t>
            </a:r>
            <a:r>
              <a:rPr sz="2267" dirty="0">
                <a:solidFill>
                  <a:srgbClr val="4D4E5C"/>
                </a:solidFill>
                <a:latin typeface="Arial"/>
                <a:cs typeface="Arial"/>
              </a:rPr>
              <a:t>this executable &amp; provides a test</a:t>
            </a:r>
            <a:r>
              <a:rPr sz="2267" spc="-113" dirty="0">
                <a:solidFill>
                  <a:srgbClr val="4D4E5C"/>
                </a:solidFill>
                <a:latin typeface="Arial"/>
                <a:cs typeface="Arial"/>
              </a:rPr>
              <a:t> </a:t>
            </a:r>
            <a:r>
              <a:rPr sz="2267" dirty="0">
                <a:solidFill>
                  <a:srgbClr val="4D4E5C"/>
                </a:solidFill>
                <a:latin typeface="Arial"/>
                <a:cs typeface="Arial"/>
              </a:rPr>
              <a:t>report</a:t>
            </a:r>
            <a:endParaRPr sz="2267">
              <a:latin typeface="Arial"/>
              <a:cs typeface="Arial"/>
            </a:endParaRPr>
          </a:p>
          <a:p>
            <a:pPr lvl="1">
              <a:spcBef>
                <a:spcPts val="20"/>
              </a:spcBef>
              <a:buClr>
                <a:srgbClr val="00AFEF"/>
              </a:buClr>
              <a:buFont typeface="Wingdings"/>
              <a:buChar char=""/>
            </a:pPr>
            <a:endParaRPr sz="3267">
              <a:latin typeface="Times New Roman"/>
              <a:cs typeface="Times New Roman"/>
            </a:endParaRPr>
          </a:p>
          <a:p>
            <a:pPr marL="1008355" marR="723882" lvl="1" indent="-381837">
              <a:lnSpc>
                <a:spcPct val="80000"/>
              </a:lnSpc>
              <a:buClr>
                <a:srgbClr val="00AFEF"/>
              </a:buClr>
              <a:buFont typeface="Wingdings"/>
              <a:buChar char=""/>
              <a:tabLst>
                <a:tab pos="1008355" algn="l"/>
                <a:tab pos="1009201" algn="l"/>
              </a:tabLst>
            </a:pPr>
            <a:r>
              <a:rPr sz="2267" dirty="0">
                <a:solidFill>
                  <a:srgbClr val="4D4E5C"/>
                </a:solidFill>
                <a:latin typeface="Arial"/>
                <a:cs typeface="Arial"/>
              </a:rPr>
              <a:t>Archived: </a:t>
            </a:r>
            <a:r>
              <a:rPr sz="2267" spc="7" dirty="0">
                <a:solidFill>
                  <a:srgbClr val="4D4E5C"/>
                </a:solidFill>
                <a:latin typeface="Arial"/>
                <a:cs typeface="Arial"/>
              </a:rPr>
              <a:t>The </a:t>
            </a:r>
            <a:r>
              <a:rPr sz="2267" dirty="0">
                <a:solidFill>
                  <a:srgbClr val="4D4E5C"/>
                </a:solidFill>
                <a:latin typeface="Arial"/>
                <a:cs typeface="Arial"/>
              </a:rPr>
              <a:t>various </a:t>
            </a:r>
            <a:r>
              <a:rPr sz="2267" spc="-7" dirty="0">
                <a:solidFill>
                  <a:srgbClr val="4D4E5C"/>
                </a:solidFill>
                <a:latin typeface="Arial"/>
                <a:cs typeface="Arial"/>
              </a:rPr>
              <a:t>artefacts </a:t>
            </a:r>
            <a:r>
              <a:rPr sz="2267" dirty="0">
                <a:solidFill>
                  <a:srgbClr val="4D4E5C"/>
                </a:solidFill>
                <a:latin typeface="Arial"/>
                <a:cs typeface="Arial"/>
              </a:rPr>
              <a:t>are versioned and stored so </a:t>
            </a:r>
            <a:r>
              <a:rPr sz="2267" spc="-7" dirty="0">
                <a:solidFill>
                  <a:srgbClr val="4D4E5C"/>
                </a:solidFill>
                <a:latin typeface="Arial"/>
                <a:cs typeface="Arial"/>
              </a:rPr>
              <a:t>that </a:t>
            </a:r>
            <a:r>
              <a:rPr sz="2267" dirty="0">
                <a:solidFill>
                  <a:srgbClr val="4D4E5C"/>
                </a:solidFill>
                <a:latin typeface="Arial"/>
                <a:cs typeface="Arial"/>
              </a:rPr>
              <a:t>it can be  distributed as is as and </a:t>
            </a:r>
            <a:r>
              <a:rPr sz="2267" spc="-7" dirty="0">
                <a:solidFill>
                  <a:srgbClr val="4D4E5C"/>
                </a:solidFill>
                <a:latin typeface="Arial"/>
                <a:cs typeface="Arial"/>
              </a:rPr>
              <a:t>when</a:t>
            </a:r>
            <a:r>
              <a:rPr sz="2267" spc="20" dirty="0">
                <a:solidFill>
                  <a:srgbClr val="4D4E5C"/>
                </a:solidFill>
                <a:latin typeface="Arial"/>
                <a:cs typeface="Arial"/>
              </a:rPr>
              <a:t> </a:t>
            </a:r>
            <a:r>
              <a:rPr sz="2267" dirty="0">
                <a:solidFill>
                  <a:srgbClr val="4D4E5C"/>
                </a:solidFill>
                <a:latin typeface="Arial"/>
                <a:cs typeface="Arial"/>
              </a:rPr>
              <a:t>required</a:t>
            </a:r>
            <a:endParaRPr sz="2267">
              <a:latin typeface="Arial"/>
              <a:cs typeface="Arial"/>
            </a:endParaRPr>
          </a:p>
          <a:p>
            <a:pPr lvl="1">
              <a:spcBef>
                <a:spcPts val="27"/>
              </a:spcBef>
              <a:buClr>
                <a:srgbClr val="00AFEF"/>
              </a:buClr>
              <a:buFont typeface="Wingdings"/>
              <a:buChar char=""/>
            </a:pPr>
            <a:endParaRPr sz="3267">
              <a:latin typeface="Times New Roman"/>
              <a:cs typeface="Times New Roman"/>
            </a:endParaRPr>
          </a:p>
          <a:p>
            <a:pPr marL="1008355" marR="6773" lvl="1" indent="-381837">
              <a:lnSpc>
                <a:spcPct val="80000"/>
              </a:lnSpc>
              <a:buClr>
                <a:srgbClr val="00AFEF"/>
              </a:buClr>
              <a:buFont typeface="Wingdings"/>
              <a:buChar char=""/>
              <a:tabLst>
                <a:tab pos="1008355" algn="l"/>
                <a:tab pos="1009201" algn="l"/>
              </a:tabLst>
            </a:pPr>
            <a:r>
              <a:rPr sz="2267" spc="-7" dirty="0">
                <a:solidFill>
                  <a:srgbClr val="4D4E5C"/>
                </a:solidFill>
                <a:latin typeface="Arial"/>
                <a:cs typeface="Arial"/>
              </a:rPr>
              <a:t>Deployed: </a:t>
            </a:r>
            <a:r>
              <a:rPr sz="2267" spc="7" dirty="0">
                <a:solidFill>
                  <a:srgbClr val="4D4E5C"/>
                </a:solidFill>
                <a:latin typeface="Arial"/>
                <a:cs typeface="Arial"/>
              </a:rPr>
              <a:t>The </a:t>
            </a:r>
            <a:r>
              <a:rPr sz="2267" spc="-7" dirty="0">
                <a:solidFill>
                  <a:srgbClr val="4D4E5C"/>
                </a:solidFill>
                <a:latin typeface="Arial"/>
                <a:cs typeface="Arial"/>
              </a:rPr>
              <a:t>final </a:t>
            </a:r>
            <a:r>
              <a:rPr sz="2267" dirty="0">
                <a:solidFill>
                  <a:srgbClr val="4D4E5C"/>
                </a:solidFill>
                <a:latin typeface="Arial"/>
                <a:cs typeface="Arial"/>
              </a:rPr>
              <a:t>executable is loaded into the </a:t>
            </a:r>
            <a:r>
              <a:rPr sz="2267" spc="-7" dirty="0">
                <a:solidFill>
                  <a:srgbClr val="4D4E5C"/>
                </a:solidFill>
                <a:latin typeface="Arial"/>
                <a:cs typeface="Arial"/>
              </a:rPr>
              <a:t>system where team </a:t>
            </a:r>
            <a:r>
              <a:rPr sz="2267" dirty="0">
                <a:solidFill>
                  <a:srgbClr val="4D4E5C"/>
                </a:solidFill>
                <a:latin typeface="Arial"/>
                <a:cs typeface="Arial"/>
              </a:rPr>
              <a:t>members  can interact </a:t>
            </a:r>
            <a:r>
              <a:rPr sz="2267" spc="-13" dirty="0">
                <a:solidFill>
                  <a:srgbClr val="4D4E5C"/>
                </a:solidFill>
                <a:latin typeface="Arial"/>
                <a:cs typeface="Arial"/>
              </a:rPr>
              <a:t>with</a:t>
            </a:r>
            <a:r>
              <a:rPr sz="2267" spc="13" dirty="0">
                <a:solidFill>
                  <a:srgbClr val="4D4E5C"/>
                </a:solidFill>
                <a:latin typeface="Arial"/>
                <a:cs typeface="Arial"/>
              </a:rPr>
              <a:t> </a:t>
            </a:r>
            <a:r>
              <a:rPr sz="2267" dirty="0">
                <a:solidFill>
                  <a:srgbClr val="4D4E5C"/>
                </a:solidFill>
                <a:latin typeface="Arial"/>
                <a:cs typeface="Arial"/>
              </a:rPr>
              <a:t>it</a:t>
            </a:r>
            <a:endParaRPr sz="2267">
              <a:latin typeface="Arial"/>
              <a:cs typeface="Arial"/>
            </a:endParaRPr>
          </a:p>
        </p:txBody>
      </p:sp>
    </p:spTree>
    <p:extLst>
      <p:ext uri="{BB962C8B-B14F-4D97-AF65-F5344CB8AC3E}">
        <p14:creationId xmlns:p14="http://schemas.microsoft.com/office/powerpoint/2010/main" val="61161896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object 10"/>
          <p:cNvSpPr txBox="1">
            <a:spLocks noGrp="1"/>
          </p:cNvSpPr>
          <p:nvPr>
            <p:ph type="title"/>
          </p:nvPr>
        </p:nvSpPr>
        <p:spPr>
          <a:prstGeom prst="rect">
            <a:avLst/>
          </a:prstGeom>
        </p:spPr>
        <p:txBody>
          <a:bodyPr vert="horz" wrap="square" lIns="0" tIns="16933" rIns="0" bIns="0" numCol="1" rtlCol="0" anchor="ctr" anchorCtr="0" compatLnSpc="1">
            <a:prstTxWarp prst="textNoShape">
              <a:avLst/>
            </a:prstTxWarp>
            <a:spAutoFit/>
          </a:bodyPr>
          <a:lstStyle/>
          <a:p>
            <a:pPr marL="16933">
              <a:spcBef>
                <a:spcPts val="133"/>
              </a:spcBef>
            </a:pPr>
            <a:r>
              <a:rPr sz="4800" dirty="0"/>
              <a:t>Maven</a:t>
            </a:r>
            <a:r>
              <a:rPr sz="4800" spc="-67" dirty="0"/>
              <a:t> </a:t>
            </a:r>
            <a:r>
              <a:rPr sz="4800" spc="-7" dirty="0"/>
              <a:t>Lifecycle</a:t>
            </a:r>
            <a:endParaRPr sz="4800"/>
          </a:p>
        </p:txBody>
      </p:sp>
    </p:spTree>
    <p:extLst>
      <p:ext uri="{BB962C8B-B14F-4D97-AF65-F5344CB8AC3E}">
        <p14:creationId xmlns:p14="http://schemas.microsoft.com/office/powerpoint/2010/main" val="394283164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209964" y="307001"/>
            <a:ext cx="2650836" cy="479618"/>
          </a:xfrm>
          <a:prstGeom prst="rect">
            <a:avLst/>
          </a:prstGeom>
        </p:spPr>
        <p:txBody>
          <a:bodyPr vert="horz" wrap="square" lIns="0" tIns="17780" rIns="0" bIns="0" numCol="1" rtlCol="0" anchor="t" anchorCtr="0" compatLnSpc="1">
            <a:prstTxWarp prst="textNoShape">
              <a:avLst/>
            </a:prstTxWarp>
            <a:spAutoFit/>
          </a:bodyPr>
          <a:lstStyle/>
          <a:p>
            <a:pPr marL="16933">
              <a:spcBef>
                <a:spcPts val="140"/>
              </a:spcBef>
            </a:pPr>
            <a:r>
              <a:rPr dirty="0"/>
              <a:t>Obje</a:t>
            </a:r>
            <a:r>
              <a:rPr spc="7" dirty="0"/>
              <a:t>c</a:t>
            </a:r>
            <a:r>
              <a:rPr dirty="0"/>
              <a:t>tives</a:t>
            </a:r>
          </a:p>
        </p:txBody>
      </p:sp>
      <p:sp>
        <p:nvSpPr>
          <p:cNvPr id="3" name="object 3"/>
          <p:cNvSpPr txBox="1"/>
          <p:nvPr/>
        </p:nvSpPr>
        <p:spPr>
          <a:xfrm>
            <a:off x="284208" y="994155"/>
            <a:ext cx="10312400" cy="2500877"/>
          </a:xfrm>
          <a:prstGeom prst="rect">
            <a:avLst/>
          </a:prstGeom>
        </p:spPr>
        <p:txBody>
          <a:bodyPr vert="horz" wrap="square" lIns="0" tIns="17780" rIns="0" bIns="0" rtlCol="0">
            <a:spAutoFit/>
          </a:bodyPr>
          <a:lstStyle/>
          <a:p>
            <a:pPr marL="16933">
              <a:spcBef>
                <a:spcPts val="140"/>
              </a:spcBef>
            </a:pPr>
            <a:r>
              <a:rPr sz="2667" dirty="0">
                <a:solidFill>
                  <a:srgbClr val="4D4E5C"/>
                </a:solidFill>
                <a:latin typeface="Arial"/>
                <a:cs typeface="Arial"/>
              </a:rPr>
              <a:t>At </a:t>
            </a:r>
            <a:r>
              <a:rPr sz="2667" spc="-7" dirty="0">
                <a:solidFill>
                  <a:srgbClr val="4D4E5C"/>
                </a:solidFill>
                <a:latin typeface="Arial"/>
                <a:cs typeface="Arial"/>
              </a:rPr>
              <a:t>the </a:t>
            </a:r>
            <a:r>
              <a:rPr sz="2667" dirty="0">
                <a:solidFill>
                  <a:srgbClr val="4D4E5C"/>
                </a:solidFill>
                <a:latin typeface="Arial"/>
                <a:cs typeface="Arial"/>
              </a:rPr>
              <a:t>end of this section you would be able</a:t>
            </a:r>
            <a:r>
              <a:rPr sz="2667" spc="-193" dirty="0">
                <a:solidFill>
                  <a:srgbClr val="4D4E5C"/>
                </a:solidFill>
                <a:latin typeface="Arial"/>
                <a:cs typeface="Arial"/>
              </a:rPr>
              <a:t> </a:t>
            </a:r>
            <a:r>
              <a:rPr sz="2667" dirty="0">
                <a:solidFill>
                  <a:srgbClr val="4D4E5C"/>
                </a:solidFill>
                <a:latin typeface="Arial"/>
                <a:cs typeface="Arial"/>
              </a:rPr>
              <a:t>to</a:t>
            </a:r>
            <a:endParaRPr sz="2667" dirty="0">
              <a:latin typeface="Arial"/>
              <a:cs typeface="Arial"/>
            </a:endParaRPr>
          </a:p>
          <a:p>
            <a:pPr>
              <a:spcBef>
                <a:spcPts val="47"/>
              </a:spcBef>
            </a:pPr>
            <a:endParaRPr sz="4133" dirty="0">
              <a:latin typeface="Times New Roman"/>
              <a:cs typeface="Times New Roman"/>
            </a:endParaRPr>
          </a:p>
          <a:p>
            <a:pPr marL="325112" indent="-308179">
              <a:buClr>
                <a:srgbClr val="00AFEF"/>
              </a:buClr>
              <a:buChar char="-"/>
              <a:tabLst>
                <a:tab pos="325112" algn="l"/>
                <a:tab pos="325959" algn="l"/>
              </a:tabLst>
            </a:pPr>
            <a:r>
              <a:rPr sz="2667" dirty="0">
                <a:solidFill>
                  <a:srgbClr val="4D4E5C"/>
                </a:solidFill>
                <a:latin typeface="Arial"/>
                <a:cs typeface="Arial"/>
              </a:rPr>
              <a:t>Comprehend </a:t>
            </a:r>
            <a:r>
              <a:rPr sz="2667" spc="-7" dirty="0">
                <a:solidFill>
                  <a:srgbClr val="4D4E5C"/>
                </a:solidFill>
                <a:latin typeface="Arial"/>
                <a:cs typeface="Arial"/>
              </a:rPr>
              <a:t>different </a:t>
            </a:r>
            <a:r>
              <a:rPr sz="2667" dirty="0">
                <a:solidFill>
                  <a:srgbClr val="4D4E5C"/>
                </a:solidFill>
                <a:latin typeface="Arial"/>
                <a:cs typeface="Arial"/>
              </a:rPr>
              <a:t>phases of Maven build </a:t>
            </a:r>
            <a:r>
              <a:rPr sz="2667" spc="-7" dirty="0">
                <a:solidFill>
                  <a:srgbClr val="4D4E5C"/>
                </a:solidFill>
                <a:latin typeface="Arial"/>
                <a:cs typeface="Arial"/>
              </a:rPr>
              <a:t>life</a:t>
            </a:r>
            <a:r>
              <a:rPr sz="2667" spc="-187" dirty="0">
                <a:solidFill>
                  <a:srgbClr val="4D4E5C"/>
                </a:solidFill>
                <a:latin typeface="Arial"/>
                <a:cs typeface="Arial"/>
              </a:rPr>
              <a:t> </a:t>
            </a:r>
            <a:r>
              <a:rPr sz="2667" dirty="0">
                <a:solidFill>
                  <a:srgbClr val="4D4E5C"/>
                </a:solidFill>
                <a:latin typeface="Arial"/>
                <a:cs typeface="Arial"/>
              </a:rPr>
              <a:t>cycle</a:t>
            </a:r>
            <a:endParaRPr sz="2667" dirty="0">
              <a:latin typeface="Arial"/>
              <a:cs typeface="Arial"/>
            </a:endParaRPr>
          </a:p>
          <a:p>
            <a:pPr marL="325112" indent="-308179">
              <a:spcBef>
                <a:spcPts val="800"/>
              </a:spcBef>
              <a:buClr>
                <a:srgbClr val="00AFEF"/>
              </a:buClr>
              <a:buChar char="-"/>
              <a:tabLst>
                <a:tab pos="325112" algn="l"/>
                <a:tab pos="325959" algn="l"/>
              </a:tabLst>
            </a:pPr>
            <a:r>
              <a:rPr sz="2667" dirty="0">
                <a:solidFill>
                  <a:srgbClr val="4D4E5C"/>
                </a:solidFill>
                <a:latin typeface="Arial"/>
                <a:cs typeface="Arial"/>
              </a:rPr>
              <a:t>Have an understanding of the commands associated with the</a:t>
            </a:r>
            <a:r>
              <a:rPr sz="2667" spc="-233" dirty="0">
                <a:solidFill>
                  <a:srgbClr val="4D4E5C"/>
                </a:solidFill>
                <a:latin typeface="Arial"/>
                <a:cs typeface="Arial"/>
              </a:rPr>
              <a:t> </a:t>
            </a:r>
            <a:r>
              <a:rPr sz="2667" dirty="0">
                <a:solidFill>
                  <a:srgbClr val="4D4E5C"/>
                </a:solidFill>
                <a:latin typeface="Arial"/>
                <a:cs typeface="Arial"/>
              </a:rPr>
              <a:t>build</a:t>
            </a:r>
            <a:endParaRPr sz="2667" dirty="0">
              <a:latin typeface="Arial"/>
              <a:cs typeface="Arial"/>
            </a:endParaRPr>
          </a:p>
          <a:p>
            <a:pPr marL="325112" indent="-308179">
              <a:spcBef>
                <a:spcPts val="807"/>
              </a:spcBef>
              <a:buClr>
                <a:srgbClr val="00AFEF"/>
              </a:buClr>
              <a:buChar char="-"/>
              <a:tabLst>
                <a:tab pos="325112" algn="l"/>
                <a:tab pos="325959" algn="l"/>
              </a:tabLst>
            </a:pPr>
            <a:r>
              <a:rPr sz="2667" dirty="0">
                <a:solidFill>
                  <a:srgbClr val="4D4E5C"/>
                </a:solidFill>
                <a:latin typeface="Arial"/>
                <a:cs typeface="Arial"/>
              </a:rPr>
              <a:t>Explain command</a:t>
            </a:r>
            <a:r>
              <a:rPr sz="2667" spc="-53" dirty="0">
                <a:solidFill>
                  <a:srgbClr val="4D4E5C"/>
                </a:solidFill>
                <a:latin typeface="Arial"/>
                <a:cs typeface="Arial"/>
              </a:rPr>
              <a:t> </a:t>
            </a:r>
            <a:r>
              <a:rPr sz="2667" spc="-20" dirty="0">
                <a:solidFill>
                  <a:srgbClr val="4D4E5C"/>
                </a:solidFill>
                <a:latin typeface="Arial"/>
                <a:cs typeface="Arial"/>
              </a:rPr>
              <a:t>hierarchy.</a:t>
            </a:r>
            <a:endParaRPr sz="2667" dirty="0">
              <a:latin typeface="Arial"/>
              <a:cs typeface="Arial"/>
            </a:endParaRPr>
          </a:p>
        </p:txBody>
      </p:sp>
    </p:spTree>
    <p:extLst>
      <p:ext uri="{BB962C8B-B14F-4D97-AF65-F5344CB8AC3E}">
        <p14:creationId xmlns:p14="http://schemas.microsoft.com/office/powerpoint/2010/main" val="379869784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339272" y="222442"/>
            <a:ext cx="4812146" cy="479618"/>
          </a:xfrm>
          <a:prstGeom prst="rect">
            <a:avLst/>
          </a:prstGeom>
        </p:spPr>
        <p:txBody>
          <a:bodyPr vert="horz" wrap="square" lIns="0" tIns="17780" rIns="0" bIns="0" numCol="1" rtlCol="0" anchor="t" anchorCtr="0" compatLnSpc="1">
            <a:prstTxWarp prst="textNoShape">
              <a:avLst/>
            </a:prstTxWarp>
            <a:spAutoFit/>
          </a:bodyPr>
          <a:lstStyle/>
          <a:p>
            <a:pPr marL="16933">
              <a:spcBef>
                <a:spcPts val="140"/>
              </a:spcBef>
            </a:pPr>
            <a:r>
              <a:rPr dirty="0"/>
              <a:t>Maven plug-ins &amp;</a:t>
            </a:r>
            <a:r>
              <a:rPr spc="-113" dirty="0"/>
              <a:t> </a:t>
            </a:r>
            <a:r>
              <a:rPr dirty="0"/>
              <a:t>goals</a:t>
            </a:r>
          </a:p>
        </p:txBody>
      </p:sp>
      <p:sp>
        <p:nvSpPr>
          <p:cNvPr id="3" name="object 3"/>
          <p:cNvSpPr txBox="1"/>
          <p:nvPr/>
        </p:nvSpPr>
        <p:spPr>
          <a:xfrm>
            <a:off x="284209" y="892860"/>
            <a:ext cx="11364807" cy="4449530"/>
          </a:xfrm>
          <a:prstGeom prst="rect">
            <a:avLst/>
          </a:prstGeom>
        </p:spPr>
        <p:txBody>
          <a:bodyPr vert="horz" wrap="square" lIns="0" tIns="118533" rIns="0" bIns="0" rtlCol="0">
            <a:spAutoFit/>
          </a:bodyPr>
          <a:lstStyle/>
          <a:p>
            <a:pPr marL="325112" indent="-308179">
              <a:spcBef>
                <a:spcPts val="933"/>
              </a:spcBef>
              <a:buClr>
                <a:srgbClr val="00AFEF"/>
              </a:buClr>
              <a:buFont typeface="Wingdings"/>
              <a:buChar char=""/>
              <a:tabLst>
                <a:tab pos="325959" algn="l"/>
              </a:tabLst>
            </a:pPr>
            <a:r>
              <a:rPr sz="2667" dirty="0">
                <a:solidFill>
                  <a:srgbClr val="4D4E5C"/>
                </a:solidFill>
                <a:latin typeface="Arial"/>
                <a:cs typeface="Arial"/>
              </a:rPr>
              <a:t>A plugin is a set of goal or</a:t>
            </a:r>
            <a:r>
              <a:rPr sz="2667" spc="-272" dirty="0">
                <a:solidFill>
                  <a:srgbClr val="4D4E5C"/>
                </a:solidFill>
                <a:latin typeface="Arial"/>
                <a:cs typeface="Arial"/>
              </a:rPr>
              <a:t> </a:t>
            </a:r>
            <a:r>
              <a:rPr sz="2667" dirty="0">
                <a:solidFill>
                  <a:srgbClr val="4D4E5C"/>
                </a:solidFill>
                <a:latin typeface="Arial"/>
                <a:cs typeface="Arial"/>
              </a:rPr>
              <a:t>goals.</a:t>
            </a:r>
            <a:endParaRPr sz="2667">
              <a:latin typeface="Arial"/>
              <a:cs typeface="Arial"/>
            </a:endParaRPr>
          </a:p>
          <a:p>
            <a:pPr marL="325112" indent="-308179">
              <a:spcBef>
                <a:spcPts val="807"/>
              </a:spcBef>
              <a:buClr>
                <a:srgbClr val="00AFEF"/>
              </a:buClr>
              <a:buFont typeface="Wingdings"/>
              <a:buChar char=""/>
              <a:tabLst>
                <a:tab pos="325959" algn="l"/>
              </a:tabLst>
            </a:pPr>
            <a:r>
              <a:rPr sz="2667" dirty="0">
                <a:solidFill>
                  <a:srgbClr val="4D4E5C"/>
                </a:solidFill>
                <a:latin typeface="Arial"/>
                <a:cs typeface="Arial"/>
              </a:rPr>
              <a:t>A </a:t>
            </a:r>
            <a:r>
              <a:rPr sz="2667" spc="-7" dirty="0">
                <a:solidFill>
                  <a:srgbClr val="4D4E5C"/>
                </a:solidFill>
                <a:latin typeface="Arial"/>
                <a:cs typeface="Arial"/>
              </a:rPr>
              <a:t>goal is </a:t>
            </a:r>
            <a:r>
              <a:rPr sz="2667" dirty="0">
                <a:solidFill>
                  <a:srgbClr val="4D4E5C"/>
                </a:solidFill>
                <a:latin typeface="Arial"/>
                <a:cs typeface="Arial"/>
              </a:rPr>
              <a:t>a “task” </a:t>
            </a:r>
            <a:r>
              <a:rPr sz="2667" spc="-7" dirty="0">
                <a:solidFill>
                  <a:srgbClr val="4D4E5C"/>
                </a:solidFill>
                <a:latin typeface="Arial"/>
                <a:cs typeface="Arial"/>
              </a:rPr>
              <a:t>in</a:t>
            </a:r>
            <a:r>
              <a:rPr sz="2667" spc="-233" dirty="0">
                <a:solidFill>
                  <a:srgbClr val="4D4E5C"/>
                </a:solidFill>
                <a:latin typeface="Arial"/>
                <a:cs typeface="Arial"/>
              </a:rPr>
              <a:t> </a:t>
            </a:r>
            <a:r>
              <a:rPr sz="2667" spc="-7" dirty="0">
                <a:solidFill>
                  <a:srgbClr val="4D4E5C"/>
                </a:solidFill>
                <a:latin typeface="Arial"/>
                <a:cs typeface="Arial"/>
              </a:rPr>
              <a:t>Maven.</a:t>
            </a:r>
            <a:endParaRPr sz="2667">
              <a:latin typeface="Arial"/>
              <a:cs typeface="Arial"/>
            </a:endParaRPr>
          </a:p>
          <a:p>
            <a:pPr marL="325112" indent="-308179">
              <a:spcBef>
                <a:spcPts val="800"/>
              </a:spcBef>
              <a:buClr>
                <a:srgbClr val="00AFEF"/>
              </a:buClr>
              <a:buFont typeface="Wingdings"/>
              <a:buChar char=""/>
              <a:tabLst>
                <a:tab pos="325959" algn="l"/>
              </a:tabLst>
            </a:pPr>
            <a:r>
              <a:rPr sz="2667" dirty="0">
                <a:solidFill>
                  <a:srgbClr val="4D4E5C"/>
                </a:solidFill>
                <a:latin typeface="Arial"/>
                <a:cs typeface="Arial"/>
              </a:rPr>
              <a:t>Goals can be executed</a:t>
            </a:r>
            <a:r>
              <a:rPr sz="2667" spc="-113" dirty="0">
                <a:solidFill>
                  <a:srgbClr val="4D4E5C"/>
                </a:solidFill>
                <a:latin typeface="Arial"/>
                <a:cs typeface="Arial"/>
              </a:rPr>
              <a:t> </a:t>
            </a:r>
            <a:r>
              <a:rPr sz="2667" dirty="0">
                <a:solidFill>
                  <a:srgbClr val="4D4E5C"/>
                </a:solidFill>
                <a:latin typeface="Arial"/>
                <a:cs typeface="Arial"/>
              </a:rPr>
              <a:t>independently</a:t>
            </a:r>
            <a:endParaRPr sz="2667">
              <a:latin typeface="Arial"/>
              <a:cs typeface="Arial"/>
            </a:endParaRPr>
          </a:p>
          <a:p>
            <a:pPr marL="325112" indent="-308179">
              <a:spcBef>
                <a:spcPts val="800"/>
              </a:spcBef>
              <a:buClr>
                <a:srgbClr val="00AFEF"/>
              </a:buClr>
              <a:buFont typeface="Wingdings"/>
              <a:buChar char=""/>
              <a:tabLst>
                <a:tab pos="325959" algn="l"/>
              </a:tabLst>
            </a:pPr>
            <a:r>
              <a:rPr sz="2667" dirty="0">
                <a:solidFill>
                  <a:srgbClr val="4D4E5C"/>
                </a:solidFill>
                <a:latin typeface="Arial"/>
                <a:cs typeface="Arial"/>
              </a:rPr>
              <a:t>Goals can be executed as a part of a chain of</a:t>
            </a:r>
            <a:r>
              <a:rPr sz="2667" spc="-260" dirty="0">
                <a:solidFill>
                  <a:srgbClr val="4D4E5C"/>
                </a:solidFill>
                <a:latin typeface="Arial"/>
                <a:cs typeface="Arial"/>
              </a:rPr>
              <a:t> </a:t>
            </a:r>
            <a:r>
              <a:rPr sz="2667" dirty="0">
                <a:solidFill>
                  <a:srgbClr val="4D4E5C"/>
                </a:solidFill>
                <a:latin typeface="Arial"/>
                <a:cs typeface="Arial"/>
              </a:rPr>
              <a:t>goals.</a:t>
            </a:r>
            <a:endParaRPr sz="2667">
              <a:latin typeface="Arial"/>
              <a:cs typeface="Arial"/>
            </a:endParaRPr>
          </a:p>
          <a:p>
            <a:pPr marL="325112" indent="-308179">
              <a:spcBef>
                <a:spcPts val="800"/>
              </a:spcBef>
              <a:buClr>
                <a:srgbClr val="00AFEF"/>
              </a:buClr>
              <a:buFont typeface="Wingdings"/>
              <a:buChar char=""/>
              <a:tabLst>
                <a:tab pos="325959" algn="l"/>
              </a:tabLst>
            </a:pPr>
            <a:r>
              <a:rPr sz="2667" dirty="0">
                <a:solidFill>
                  <a:srgbClr val="4D4E5C"/>
                </a:solidFill>
                <a:latin typeface="Arial"/>
                <a:cs typeface="Arial"/>
              </a:rPr>
              <a:t>Goals can have parameters with default</a:t>
            </a:r>
            <a:r>
              <a:rPr sz="2667" spc="-187" dirty="0">
                <a:solidFill>
                  <a:srgbClr val="4D4E5C"/>
                </a:solidFill>
                <a:latin typeface="Arial"/>
                <a:cs typeface="Arial"/>
              </a:rPr>
              <a:t> </a:t>
            </a:r>
            <a:r>
              <a:rPr sz="2667" dirty="0">
                <a:solidFill>
                  <a:srgbClr val="4D4E5C"/>
                </a:solidFill>
                <a:latin typeface="Arial"/>
                <a:cs typeface="Arial"/>
              </a:rPr>
              <a:t>values</a:t>
            </a:r>
            <a:endParaRPr sz="2667">
              <a:latin typeface="Arial"/>
              <a:cs typeface="Arial"/>
            </a:endParaRPr>
          </a:p>
          <a:p>
            <a:pPr marL="325112" indent="-308179">
              <a:spcBef>
                <a:spcPts val="800"/>
              </a:spcBef>
              <a:buClr>
                <a:srgbClr val="00AFEF"/>
              </a:buClr>
              <a:buFont typeface="Wingdings"/>
              <a:buChar char=""/>
              <a:tabLst>
                <a:tab pos="325959" algn="l"/>
              </a:tabLst>
            </a:pPr>
            <a:r>
              <a:rPr sz="2667" dirty="0">
                <a:solidFill>
                  <a:srgbClr val="4D4E5C"/>
                </a:solidFill>
                <a:latin typeface="Arial"/>
                <a:cs typeface="Arial"/>
              </a:rPr>
              <a:t>Goal(s) can be attached to a Maven Life cycle</a:t>
            </a:r>
            <a:r>
              <a:rPr sz="2667" spc="-240" dirty="0">
                <a:solidFill>
                  <a:srgbClr val="4D4E5C"/>
                </a:solidFill>
                <a:latin typeface="Arial"/>
                <a:cs typeface="Arial"/>
              </a:rPr>
              <a:t> </a:t>
            </a:r>
            <a:r>
              <a:rPr sz="2667" dirty="0">
                <a:solidFill>
                  <a:srgbClr val="4D4E5C"/>
                </a:solidFill>
                <a:latin typeface="Arial"/>
                <a:cs typeface="Arial"/>
              </a:rPr>
              <a:t>Phase</a:t>
            </a:r>
            <a:endParaRPr sz="2667">
              <a:latin typeface="Arial"/>
              <a:cs typeface="Arial"/>
            </a:endParaRPr>
          </a:p>
          <a:p>
            <a:pPr marL="325112" indent="-308179">
              <a:spcBef>
                <a:spcPts val="800"/>
              </a:spcBef>
              <a:buClr>
                <a:srgbClr val="00AFEF"/>
              </a:buClr>
              <a:buFont typeface="Wingdings"/>
              <a:buChar char=""/>
              <a:tabLst>
                <a:tab pos="325959" algn="l"/>
              </a:tabLst>
            </a:pPr>
            <a:r>
              <a:rPr sz="2667" dirty="0">
                <a:solidFill>
                  <a:srgbClr val="4D4E5C"/>
                </a:solidFill>
                <a:latin typeface="Arial"/>
                <a:cs typeface="Arial"/>
              </a:rPr>
              <a:t>These goals are executed based on input found in pom.xml of that</a:t>
            </a:r>
            <a:r>
              <a:rPr sz="2667" spc="-267" dirty="0">
                <a:solidFill>
                  <a:srgbClr val="4D4E5C"/>
                </a:solidFill>
                <a:latin typeface="Arial"/>
                <a:cs typeface="Arial"/>
              </a:rPr>
              <a:t> </a:t>
            </a:r>
            <a:r>
              <a:rPr sz="2667" dirty="0">
                <a:solidFill>
                  <a:srgbClr val="4D4E5C"/>
                </a:solidFill>
                <a:latin typeface="Arial"/>
                <a:cs typeface="Arial"/>
              </a:rPr>
              <a:t>project</a:t>
            </a:r>
            <a:endParaRPr sz="2667">
              <a:latin typeface="Arial"/>
              <a:cs typeface="Arial"/>
            </a:endParaRPr>
          </a:p>
          <a:p>
            <a:pPr marL="1008355" marR="931310" lvl="1" indent="-381837">
              <a:spcBef>
                <a:spcPts val="813"/>
              </a:spcBef>
              <a:buClr>
                <a:srgbClr val="00AFEF"/>
              </a:buClr>
              <a:buFont typeface="Wingdings"/>
              <a:buChar char=""/>
              <a:tabLst>
                <a:tab pos="1008355" algn="l"/>
                <a:tab pos="1009201" algn="l"/>
              </a:tabLst>
            </a:pPr>
            <a:r>
              <a:rPr sz="2400" spc="-7" dirty="0">
                <a:solidFill>
                  <a:srgbClr val="4D4E5C"/>
                </a:solidFill>
                <a:latin typeface="Arial"/>
                <a:cs typeface="Arial"/>
              </a:rPr>
              <a:t>e.g.,</a:t>
            </a:r>
            <a:r>
              <a:rPr sz="2400" spc="-7" dirty="0">
                <a:solidFill>
                  <a:srgbClr val="1E1E23"/>
                </a:solidFill>
                <a:latin typeface="Arial"/>
                <a:cs typeface="Arial"/>
              </a:rPr>
              <a:t> </a:t>
            </a:r>
            <a:r>
              <a:rPr sz="2400" u="heavy" spc="-7" dirty="0">
                <a:solidFill>
                  <a:srgbClr val="1E1E23"/>
                </a:solidFill>
                <a:uFill>
                  <a:solidFill>
                    <a:srgbClr val="1E1E23"/>
                  </a:solidFill>
                </a:uFill>
                <a:latin typeface="Arial"/>
                <a:cs typeface="Arial"/>
                <a:hlinkClick r:id="rId2"/>
              </a:rPr>
              <a:t>compiler:testCompile</a:t>
            </a:r>
            <a:r>
              <a:rPr sz="2400" spc="-7" dirty="0">
                <a:solidFill>
                  <a:srgbClr val="1E1E23"/>
                </a:solidFill>
                <a:latin typeface="Arial"/>
                <a:cs typeface="Arial"/>
                <a:hlinkClick r:id="rId2"/>
              </a:rPr>
              <a:t> </a:t>
            </a:r>
            <a:r>
              <a:rPr sz="2400" spc="-7" dirty="0">
                <a:solidFill>
                  <a:srgbClr val="4D4E5C"/>
                </a:solidFill>
                <a:latin typeface="Arial"/>
                <a:cs typeface="Arial"/>
              </a:rPr>
              <a:t>goal checks </a:t>
            </a:r>
            <a:r>
              <a:rPr sz="2400" dirty="0">
                <a:solidFill>
                  <a:srgbClr val="4D4E5C"/>
                </a:solidFill>
                <a:latin typeface="Arial"/>
                <a:cs typeface="Arial"/>
              </a:rPr>
              <a:t>the </a:t>
            </a:r>
            <a:r>
              <a:rPr sz="2400" spc="-7" dirty="0">
                <a:solidFill>
                  <a:srgbClr val="4D4E5C"/>
                </a:solidFill>
                <a:latin typeface="Arial"/>
                <a:cs typeface="Arial"/>
              </a:rPr>
              <a:t>input found in POM.xml </a:t>
            </a:r>
            <a:r>
              <a:rPr sz="2400" dirty="0">
                <a:solidFill>
                  <a:srgbClr val="4D4E5C"/>
                </a:solidFill>
                <a:latin typeface="Arial"/>
                <a:cs typeface="Arial"/>
              </a:rPr>
              <a:t>for  </a:t>
            </a:r>
            <a:r>
              <a:rPr sz="2400" spc="-7" dirty="0">
                <a:solidFill>
                  <a:srgbClr val="4D4E5C"/>
                </a:solidFill>
                <a:latin typeface="Arial"/>
                <a:cs typeface="Arial"/>
              </a:rPr>
              <a:t>relevant</a:t>
            </a:r>
            <a:r>
              <a:rPr sz="2400" spc="7" dirty="0">
                <a:solidFill>
                  <a:srgbClr val="4D4E5C"/>
                </a:solidFill>
                <a:latin typeface="Arial"/>
                <a:cs typeface="Arial"/>
              </a:rPr>
              <a:t> </a:t>
            </a:r>
            <a:r>
              <a:rPr sz="2400" spc="-7" dirty="0">
                <a:solidFill>
                  <a:srgbClr val="4D4E5C"/>
                </a:solidFill>
                <a:latin typeface="Arial"/>
                <a:cs typeface="Arial"/>
              </a:rPr>
              <a:t>parameters.</a:t>
            </a:r>
            <a:endParaRPr sz="2400">
              <a:latin typeface="Arial"/>
              <a:cs typeface="Arial"/>
            </a:endParaRPr>
          </a:p>
        </p:txBody>
      </p:sp>
    </p:spTree>
    <p:extLst>
      <p:ext uri="{BB962C8B-B14F-4D97-AF65-F5344CB8AC3E}">
        <p14:creationId xmlns:p14="http://schemas.microsoft.com/office/powerpoint/2010/main" val="262861486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p:cNvSpPr>
            <a:spLocks noGrp="1"/>
          </p:cNvSpPr>
          <p:nvPr>
            <p:ph idx="1"/>
          </p:nvPr>
        </p:nvSpPr>
        <p:spPr/>
        <p:txBody>
          <a:bodyPr/>
          <a:lstStyle/>
          <a:p>
            <a:endParaRPr lang="en-IN"/>
          </a:p>
        </p:txBody>
      </p:sp>
      <p:sp>
        <p:nvSpPr>
          <p:cNvPr id="2" name="object 2"/>
          <p:cNvSpPr txBox="1">
            <a:spLocks noGrp="1"/>
          </p:cNvSpPr>
          <p:nvPr>
            <p:ph type="title"/>
          </p:nvPr>
        </p:nvSpPr>
        <p:spPr>
          <a:xfrm>
            <a:off x="1001484" y="209556"/>
            <a:ext cx="10926987" cy="461665"/>
          </a:xfrm>
          <a:prstGeom prst="rect">
            <a:avLst/>
          </a:prstGeom>
        </p:spPr>
        <p:txBody>
          <a:bodyPr vert="horz" wrap="square" lIns="0" tIns="17780" rIns="0" bIns="0" numCol="1" rtlCol="0" anchor="ctr" anchorCtr="0" compatLnSpc="1">
            <a:prstTxWarp prst="textNoShape">
              <a:avLst/>
            </a:prstTxWarp>
            <a:spAutoFit/>
          </a:bodyPr>
          <a:lstStyle/>
          <a:p>
            <a:pPr marL="16933">
              <a:spcBef>
                <a:spcPts val="140"/>
              </a:spcBef>
            </a:pPr>
            <a:r>
              <a:rPr dirty="0"/>
              <a:t>Lifecycle Phases &amp;</a:t>
            </a:r>
            <a:r>
              <a:rPr spc="-73" dirty="0"/>
              <a:t> </a:t>
            </a:r>
            <a:r>
              <a:rPr dirty="0"/>
              <a:t>Plugins</a:t>
            </a:r>
          </a:p>
        </p:txBody>
      </p:sp>
      <p:sp>
        <p:nvSpPr>
          <p:cNvPr id="3" name="object 3"/>
          <p:cNvSpPr/>
          <p:nvPr/>
        </p:nvSpPr>
        <p:spPr>
          <a:xfrm>
            <a:off x="193964" y="999146"/>
            <a:ext cx="11933381" cy="5327763"/>
          </a:xfrm>
          <a:prstGeom prst="rect">
            <a:avLst/>
          </a:prstGeom>
          <a:blipFill>
            <a:blip r:embed="rId2" cstate="print"/>
            <a:stretch>
              <a:fillRect/>
            </a:stretch>
          </a:blipFill>
        </p:spPr>
        <p:txBody>
          <a:bodyPr wrap="square" lIns="0" tIns="0" rIns="0" bIns="0" rtlCol="0"/>
          <a:lstStyle/>
          <a:p>
            <a:endParaRPr/>
          </a:p>
        </p:txBody>
      </p:sp>
    </p:spTree>
    <p:extLst>
      <p:ext uri="{BB962C8B-B14F-4D97-AF65-F5344CB8AC3E}">
        <p14:creationId xmlns:p14="http://schemas.microsoft.com/office/powerpoint/2010/main" val="172946030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p:cNvSpPr>
            <a:spLocks noGrp="1"/>
          </p:cNvSpPr>
          <p:nvPr>
            <p:ph idx="1"/>
          </p:nvPr>
        </p:nvSpPr>
        <p:spPr/>
        <p:txBody>
          <a:bodyPr/>
          <a:lstStyle/>
          <a:p>
            <a:endParaRPr lang="en-IN"/>
          </a:p>
        </p:txBody>
      </p:sp>
      <p:sp>
        <p:nvSpPr>
          <p:cNvPr id="2" name="object 2"/>
          <p:cNvSpPr txBox="1">
            <a:spLocks noGrp="1"/>
          </p:cNvSpPr>
          <p:nvPr>
            <p:ph type="title"/>
          </p:nvPr>
        </p:nvSpPr>
        <p:spPr>
          <a:prstGeom prst="rect">
            <a:avLst/>
          </a:prstGeom>
        </p:spPr>
        <p:txBody>
          <a:bodyPr vert="horz" wrap="square" lIns="0" tIns="17780" rIns="0" bIns="0" numCol="1" rtlCol="0" anchor="ctr" anchorCtr="0" compatLnSpc="1">
            <a:prstTxWarp prst="textNoShape">
              <a:avLst/>
            </a:prstTxWarp>
            <a:spAutoFit/>
          </a:bodyPr>
          <a:lstStyle/>
          <a:p>
            <a:pPr marL="16933">
              <a:spcBef>
                <a:spcPts val="140"/>
              </a:spcBef>
            </a:pPr>
            <a:r>
              <a:rPr dirty="0"/>
              <a:t>Lifecycle Phases &amp; Plugins</a:t>
            </a:r>
            <a:r>
              <a:rPr spc="-67" dirty="0"/>
              <a:t> </a:t>
            </a:r>
            <a:r>
              <a:rPr dirty="0"/>
              <a:t>contd..</a:t>
            </a:r>
          </a:p>
        </p:txBody>
      </p:sp>
      <p:sp>
        <p:nvSpPr>
          <p:cNvPr id="3" name="object 3"/>
          <p:cNvSpPr/>
          <p:nvPr/>
        </p:nvSpPr>
        <p:spPr>
          <a:xfrm>
            <a:off x="166254" y="1150565"/>
            <a:ext cx="12025745" cy="5176344"/>
          </a:xfrm>
          <a:prstGeom prst="rect">
            <a:avLst/>
          </a:prstGeom>
          <a:blipFill>
            <a:blip r:embed="rId2" cstate="print"/>
            <a:stretch>
              <a:fillRect/>
            </a:stretch>
          </a:blipFill>
        </p:spPr>
        <p:txBody>
          <a:bodyPr wrap="square" lIns="0" tIns="0" rIns="0" bIns="0" rtlCol="0"/>
          <a:lstStyle/>
          <a:p>
            <a:endParaRPr/>
          </a:p>
        </p:txBody>
      </p:sp>
    </p:spTree>
    <p:extLst>
      <p:ext uri="{BB962C8B-B14F-4D97-AF65-F5344CB8AC3E}">
        <p14:creationId xmlns:p14="http://schemas.microsoft.com/office/powerpoint/2010/main" val="45904940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237673" y="307002"/>
            <a:ext cx="6121282" cy="479618"/>
          </a:xfrm>
          <a:prstGeom prst="rect">
            <a:avLst/>
          </a:prstGeom>
        </p:spPr>
        <p:txBody>
          <a:bodyPr vert="horz" wrap="square" lIns="0" tIns="17780" rIns="0" bIns="0" numCol="1" rtlCol="0" anchor="t" anchorCtr="0" compatLnSpc="1">
            <a:prstTxWarp prst="textNoShape">
              <a:avLst/>
            </a:prstTxWarp>
            <a:spAutoFit/>
          </a:bodyPr>
          <a:lstStyle/>
          <a:p>
            <a:pPr marL="16933">
              <a:spcBef>
                <a:spcPts val="140"/>
              </a:spcBef>
            </a:pPr>
            <a:r>
              <a:rPr dirty="0"/>
              <a:t>Maven Project Structure</a:t>
            </a:r>
            <a:r>
              <a:rPr spc="-93" dirty="0"/>
              <a:t> </a:t>
            </a:r>
            <a:r>
              <a:rPr dirty="0"/>
              <a:t>Creation</a:t>
            </a:r>
          </a:p>
        </p:txBody>
      </p:sp>
      <p:sp>
        <p:nvSpPr>
          <p:cNvPr id="3" name="object 3"/>
          <p:cNvSpPr txBox="1"/>
          <p:nvPr/>
        </p:nvSpPr>
        <p:spPr>
          <a:xfrm>
            <a:off x="256498" y="919234"/>
            <a:ext cx="11935501" cy="5069764"/>
          </a:xfrm>
          <a:prstGeom prst="rect">
            <a:avLst/>
          </a:prstGeom>
        </p:spPr>
        <p:txBody>
          <a:bodyPr vert="horz" wrap="square" lIns="0" tIns="60113" rIns="0" bIns="0" rtlCol="0">
            <a:spAutoFit/>
          </a:bodyPr>
          <a:lstStyle/>
          <a:p>
            <a:pPr marL="325112" marR="6773" indent="-308179">
              <a:lnSpc>
                <a:spcPts val="2733"/>
              </a:lnSpc>
              <a:spcBef>
                <a:spcPts val="473"/>
              </a:spcBef>
              <a:buClr>
                <a:srgbClr val="00AFEF"/>
              </a:buClr>
              <a:buFont typeface="Wingdings"/>
              <a:buChar char=""/>
              <a:tabLst>
                <a:tab pos="325959" algn="l"/>
              </a:tabLst>
            </a:pPr>
            <a:r>
              <a:rPr sz="2533" spc="-7" dirty="0">
                <a:solidFill>
                  <a:srgbClr val="4D4E5C"/>
                </a:solidFill>
                <a:latin typeface="Arial"/>
                <a:cs typeface="Arial"/>
              </a:rPr>
              <a:t>Maven provides "standardized" folder structure for different kinds of software  projects.</a:t>
            </a:r>
            <a:endParaRPr sz="2533" dirty="0">
              <a:latin typeface="Arial"/>
              <a:cs typeface="Arial"/>
            </a:endParaRPr>
          </a:p>
          <a:p>
            <a:pPr marL="325112" indent="-308179">
              <a:lnSpc>
                <a:spcPts val="2887"/>
              </a:lnSpc>
              <a:spcBef>
                <a:spcPts val="460"/>
              </a:spcBef>
              <a:buClr>
                <a:srgbClr val="00AFEF"/>
              </a:buClr>
              <a:buFont typeface="Wingdings"/>
              <a:buChar char=""/>
              <a:tabLst>
                <a:tab pos="325959" algn="l"/>
              </a:tabLst>
            </a:pPr>
            <a:r>
              <a:rPr sz="2533" spc="-7" dirty="0">
                <a:solidFill>
                  <a:srgbClr val="4D4E5C"/>
                </a:solidFill>
                <a:latin typeface="Arial"/>
                <a:cs typeface="Arial"/>
              </a:rPr>
              <a:t>Create a maven project by using archetype plugin and by specifying</a:t>
            </a:r>
            <a:r>
              <a:rPr sz="2533" spc="460" dirty="0">
                <a:solidFill>
                  <a:srgbClr val="4D4E5C"/>
                </a:solidFill>
                <a:latin typeface="Arial"/>
                <a:cs typeface="Arial"/>
              </a:rPr>
              <a:t> </a:t>
            </a:r>
            <a:r>
              <a:rPr sz="2533" spc="-7" dirty="0">
                <a:solidFill>
                  <a:srgbClr val="4D4E5C"/>
                </a:solidFill>
                <a:latin typeface="Arial"/>
                <a:cs typeface="Arial"/>
              </a:rPr>
              <a:t>suitable</a:t>
            </a:r>
            <a:endParaRPr sz="2533" dirty="0">
              <a:latin typeface="Arial"/>
              <a:cs typeface="Arial"/>
            </a:endParaRPr>
          </a:p>
          <a:p>
            <a:pPr marL="325112">
              <a:lnSpc>
                <a:spcPts val="2887"/>
              </a:lnSpc>
            </a:pPr>
            <a:r>
              <a:rPr sz="2533" spc="-7" dirty="0">
                <a:solidFill>
                  <a:srgbClr val="4D4E5C"/>
                </a:solidFill>
                <a:latin typeface="Arial"/>
                <a:cs typeface="Arial"/>
              </a:rPr>
              <a:t>goal</a:t>
            </a:r>
            <a:endParaRPr sz="2533" dirty="0">
              <a:latin typeface="Arial"/>
              <a:cs typeface="Arial"/>
            </a:endParaRPr>
          </a:p>
          <a:p>
            <a:pPr marL="1008355" marR="681550" lvl="1" indent="-381837">
              <a:lnSpc>
                <a:spcPts val="2452"/>
              </a:lnSpc>
              <a:spcBef>
                <a:spcPts val="847"/>
              </a:spcBef>
              <a:buClr>
                <a:srgbClr val="00AFEF"/>
              </a:buClr>
              <a:buFont typeface="Wingdings"/>
              <a:buChar char=""/>
              <a:tabLst>
                <a:tab pos="1008355" algn="l"/>
                <a:tab pos="1009201" algn="l"/>
              </a:tabLst>
            </a:pPr>
            <a:r>
              <a:rPr sz="2267" dirty="0">
                <a:solidFill>
                  <a:srgbClr val="4D4E5C"/>
                </a:solidFill>
                <a:latin typeface="Arial"/>
                <a:cs typeface="Arial"/>
              </a:rPr>
              <a:t>Maven generation process </a:t>
            </a:r>
            <a:r>
              <a:rPr sz="2267" spc="-7" dirty="0">
                <a:solidFill>
                  <a:srgbClr val="4D4E5C"/>
                </a:solidFill>
                <a:latin typeface="Arial"/>
                <a:cs typeface="Arial"/>
              </a:rPr>
              <a:t>switches into interactive </a:t>
            </a:r>
            <a:r>
              <a:rPr sz="2267" dirty="0">
                <a:solidFill>
                  <a:srgbClr val="4D4E5C"/>
                </a:solidFill>
                <a:latin typeface="Arial"/>
                <a:cs typeface="Arial"/>
              </a:rPr>
              <a:t>mode to make relevant  </a:t>
            </a:r>
            <a:r>
              <a:rPr sz="2267" spc="-7" dirty="0">
                <a:solidFill>
                  <a:srgbClr val="4D4E5C"/>
                </a:solidFill>
                <a:latin typeface="Arial"/>
                <a:cs typeface="Arial"/>
              </a:rPr>
              <a:t>settings If </a:t>
            </a:r>
            <a:r>
              <a:rPr sz="2267" dirty="0">
                <a:solidFill>
                  <a:srgbClr val="4D4E5C"/>
                </a:solidFill>
                <a:latin typeface="Arial"/>
                <a:cs typeface="Arial"/>
              </a:rPr>
              <a:t>goals are not</a:t>
            </a:r>
            <a:r>
              <a:rPr sz="2267" spc="20" dirty="0">
                <a:solidFill>
                  <a:srgbClr val="4D4E5C"/>
                </a:solidFill>
                <a:latin typeface="Arial"/>
                <a:cs typeface="Arial"/>
              </a:rPr>
              <a:t> </a:t>
            </a:r>
            <a:r>
              <a:rPr sz="2267" dirty="0">
                <a:solidFill>
                  <a:srgbClr val="4D4E5C"/>
                </a:solidFill>
                <a:latin typeface="Arial"/>
                <a:cs typeface="Arial"/>
              </a:rPr>
              <a:t>specified,</a:t>
            </a:r>
            <a:endParaRPr sz="2267" dirty="0">
              <a:latin typeface="Arial"/>
              <a:cs typeface="Arial"/>
            </a:endParaRPr>
          </a:p>
          <a:p>
            <a:pPr marL="1008355" lvl="1" indent="-381837">
              <a:spcBef>
                <a:spcPts val="480"/>
              </a:spcBef>
              <a:buClr>
                <a:srgbClr val="00AFEF"/>
              </a:buClr>
              <a:buFont typeface="Wingdings"/>
              <a:buChar char=""/>
              <a:tabLst>
                <a:tab pos="1008355" algn="l"/>
                <a:tab pos="1009201" algn="l"/>
              </a:tabLst>
            </a:pPr>
            <a:r>
              <a:rPr sz="2267" dirty="0">
                <a:solidFill>
                  <a:srgbClr val="4D4E5C"/>
                </a:solidFill>
                <a:latin typeface="Arial"/>
                <a:cs typeface="Arial"/>
              </a:rPr>
              <a:t>Maven provides </a:t>
            </a:r>
            <a:r>
              <a:rPr sz="2267" spc="-7" dirty="0">
                <a:solidFill>
                  <a:srgbClr val="4D4E5C"/>
                </a:solidFill>
                <a:latin typeface="Arial"/>
                <a:cs typeface="Arial"/>
              </a:rPr>
              <a:t>archetypes from </a:t>
            </a:r>
            <a:r>
              <a:rPr sz="2267" dirty="0">
                <a:solidFill>
                  <a:srgbClr val="4D4E5C"/>
                </a:solidFill>
                <a:latin typeface="Arial"/>
                <a:cs typeface="Arial"/>
              </a:rPr>
              <a:t>a Java app to a complex </a:t>
            </a:r>
            <a:r>
              <a:rPr sz="2267" spc="-7" dirty="0">
                <a:solidFill>
                  <a:srgbClr val="4D4E5C"/>
                </a:solidFill>
                <a:latin typeface="Arial"/>
                <a:cs typeface="Arial"/>
              </a:rPr>
              <a:t>web</a:t>
            </a:r>
            <a:r>
              <a:rPr sz="2267" spc="87" dirty="0">
                <a:solidFill>
                  <a:srgbClr val="4D4E5C"/>
                </a:solidFill>
                <a:latin typeface="Arial"/>
                <a:cs typeface="Arial"/>
              </a:rPr>
              <a:t> </a:t>
            </a:r>
            <a:r>
              <a:rPr sz="2267" dirty="0">
                <a:solidFill>
                  <a:srgbClr val="4D4E5C"/>
                </a:solidFill>
                <a:latin typeface="Arial"/>
                <a:cs typeface="Arial"/>
              </a:rPr>
              <a:t>app</a:t>
            </a:r>
            <a:endParaRPr sz="2267" dirty="0">
              <a:latin typeface="Arial"/>
              <a:cs typeface="Arial"/>
            </a:endParaRPr>
          </a:p>
          <a:p>
            <a:pPr marL="1109106" lvl="1" indent="-482588">
              <a:spcBef>
                <a:spcPts val="493"/>
              </a:spcBef>
              <a:buSzPct val="94736"/>
              <a:buAutoNum type="alphaLcPeriod" startAt="7"/>
              <a:tabLst>
                <a:tab pos="1109952" algn="l"/>
              </a:tabLst>
            </a:pPr>
            <a:r>
              <a:rPr sz="2533" spc="-7" dirty="0">
                <a:solidFill>
                  <a:srgbClr val="4D4E5C"/>
                </a:solidFill>
                <a:latin typeface="Arial"/>
                <a:cs typeface="Arial"/>
              </a:rPr>
              <a:t>.: mvn</a:t>
            </a:r>
            <a:r>
              <a:rPr sz="2533" spc="7" dirty="0">
                <a:solidFill>
                  <a:srgbClr val="4D4E5C"/>
                </a:solidFill>
                <a:latin typeface="Arial"/>
                <a:cs typeface="Arial"/>
              </a:rPr>
              <a:t> </a:t>
            </a:r>
            <a:r>
              <a:rPr sz="2533" spc="-7" dirty="0">
                <a:solidFill>
                  <a:srgbClr val="4D4E5C"/>
                </a:solidFill>
                <a:latin typeface="Arial"/>
                <a:cs typeface="Arial"/>
              </a:rPr>
              <a:t>archetype:generate</a:t>
            </a:r>
            <a:endParaRPr sz="2533" dirty="0">
              <a:latin typeface="Arial"/>
              <a:cs typeface="Arial"/>
            </a:endParaRPr>
          </a:p>
          <a:p>
            <a:pPr marL="1540048" lvl="2" indent="-303946">
              <a:spcBef>
                <a:spcPts val="579"/>
              </a:spcBef>
              <a:buClr>
                <a:srgbClr val="00AFEF"/>
              </a:buClr>
              <a:buFont typeface="Wingdings"/>
              <a:buChar char=""/>
              <a:tabLst>
                <a:tab pos="1540048" algn="l"/>
                <a:tab pos="1540895" algn="l"/>
              </a:tabLst>
            </a:pPr>
            <a:r>
              <a:rPr sz="2000" spc="-7" dirty="0">
                <a:solidFill>
                  <a:srgbClr val="4D4E5C"/>
                </a:solidFill>
                <a:latin typeface="Arial"/>
                <a:cs typeface="Arial"/>
              </a:rPr>
              <a:t>maven-archetype-quickstart: </a:t>
            </a:r>
            <a:r>
              <a:rPr sz="2000" dirty="0">
                <a:solidFill>
                  <a:srgbClr val="4D4E5C"/>
                </a:solidFill>
                <a:latin typeface="Arial"/>
                <a:cs typeface="Arial"/>
              </a:rPr>
              <a:t>It generates </a:t>
            </a:r>
            <a:r>
              <a:rPr sz="2000" spc="-7" dirty="0">
                <a:solidFill>
                  <a:srgbClr val="4D4E5C"/>
                </a:solidFill>
                <a:latin typeface="Arial"/>
                <a:cs typeface="Arial"/>
              </a:rPr>
              <a:t>a </a:t>
            </a:r>
            <a:r>
              <a:rPr sz="2000" dirty="0">
                <a:solidFill>
                  <a:srgbClr val="4D4E5C"/>
                </a:solidFill>
                <a:latin typeface="Arial"/>
                <a:cs typeface="Arial"/>
              </a:rPr>
              <a:t>sample </a:t>
            </a:r>
            <a:r>
              <a:rPr sz="2000" spc="-7" dirty="0">
                <a:solidFill>
                  <a:srgbClr val="4D4E5C"/>
                </a:solidFill>
                <a:latin typeface="Arial"/>
                <a:cs typeface="Arial"/>
              </a:rPr>
              <a:t>Maven</a:t>
            </a:r>
            <a:r>
              <a:rPr sz="2000" spc="-140" dirty="0">
                <a:solidFill>
                  <a:srgbClr val="4D4E5C"/>
                </a:solidFill>
                <a:latin typeface="Arial"/>
                <a:cs typeface="Arial"/>
              </a:rPr>
              <a:t> </a:t>
            </a:r>
            <a:r>
              <a:rPr sz="2000" dirty="0">
                <a:solidFill>
                  <a:srgbClr val="4D4E5C"/>
                </a:solidFill>
                <a:latin typeface="Arial"/>
                <a:cs typeface="Arial"/>
              </a:rPr>
              <a:t>project.</a:t>
            </a:r>
            <a:endParaRPr sz="2000" dirty="0">
              <a:latin typeface="Arial"/>
              <a:cs typeface="Arial"/>
            </a:endParaRPr>
          </a:p>
          <a:p>
            <a:pPr marL="1540048" lvl="2" indent="-303946">
              <a:spcBef>
                <a:spcPts val="560"/>
              </a:spcBef>
              <a:buClr>
                <a:srgbClr val="00AFEF"/>
              </a:buClr>
              <a:buFont typeface="Wingdings"/>
              <a:buChar char=""/>
              <a:tabLst>
                <a:tab pos="1540048" algn="l"/>
                <a:tab pos="1540895" algn="l"/>
              </a:tabLst>
            </a:pPr>
            <a:r>
              <a:rPr sz="2000" spc="-7" dirty="0">
                <a:solidFill>
                  <a:srgbClr val="4D4E5C"/>
                </a:solidFill>
                <a:latin typeface="Arial"/>
                <a:cs typeface="Arial"/>
              </a:rPr>
              <a:t>maven-archetype-simple: </a:t>
            </a:r>
            <a:r>
              <a:rPr sz="2000" dirty="0">
                <a:solidFill>
                  <a:srgbClr val="4D4E5C"/>
                </a:solidFill>
                <a:latin typeface="Arial"/>
                <a:cs typeface="Arial"/>
              </a:rPr>
              <a:t>It generates </a:t>
            </a:r>
            <a:r>
              <a:rPr sz="2000" spc="-7" dirty="0">
                <a:solidFill>
                  <a:srgbClr val="4D4E5C"/>
                </a:solidFill>
                <a:latin typeface="Arial"/>
                <a:cs typeface="Arial"/>
              </a:rPr>
              <a:t>a </a:t>
            </a:r>
            <a:r>
              <a:rPr sz="2000" dirty="0">
                <a:solidFill>
                  <a:srgbClr val="4D4E5C"/>
                </a:solidFill>
                <a:latin typeface="Arial"/>
                <a:cs typeface="Arial"/>
              </a:rPr>
              <a:t>simple </a:t>
            </a:r>
            <a:r>
              <a:rPr sz="2000" spc="-7" dirty="0">
                <a:solidFill>
                  <a:srgbClr val="4D4E5C"/>
                </a:solidFill>
                <a:latin typeface="Arial"/>
                <a:cs typeface="Arial"/>
              </a:rPr>
              <a:t>Maven</a:t>
            </a:r>
            <a:r>
              <a:rPr sz="2000" spc="-93" dirty="0">
                <a:solidFill>
                  <a:srgbClr val="4D4E5C"/>
                </a:solidFill>
                <a:latin typeface="Arial"/>
                <a:cs typeface="Arial"/>
              </a:rPr>
              <a:t> </a:t>
            </a:r>
            <a:r>
              <a:rPr sz="2000" dirty="0">
                <a:solidFill>
                  <a:srgbClr val="4D4E5C"/>
                </a:solidFill>
                <a:latin typeface="Arial"/>
                <a:cs typeface="Arial"/>
              </a:rPr>
              <a:t>project.</a:t>
            </a:r>
            <a:endParaRPr sz="2000" dirty="0">
              <a:latin typeface="Arial"/>
              <a:cs typeface="Arial"/>
            </a:endParaRPr>
          </a:p>
          <a:p>
            <a:pPr marL="1540048" lvl="2" indent="-303946">
              <a:spcBef>
                <a:spcPts val="560"/>
              </a:spcBef>
              <a:buClr>
                <a:srgbClr val="00AFEF"/>
              </a:buClr>
              <a:buFont typeface="Wingdings"/>
              <a:buChar char=""/>
              <a:tabLst>
                <a:tab pos="1540048" algn="l"/>
                <a:tab pos="1540895" algn="l"/>
              </a:tabLst>
            </a:pPr>
            <a:r>
              <a:rPr sz="2000" spc="-7" dirty="0">
                <a:solidFill>
                  <a:srgbClr val="4D4E5C"/>
                </a:solidFill>
                <a:latin typeface="Arial"/>
                <a:cs typeface="Arial"/>
              </a:rPr>
              <a:t>maven-archetype-webapp: </a:t>
            </a:r>
            <a:r>
              <a:rPr sz="2000" dirty="0">
                <a:solidFill>
                  <a:srgbClr val="4D4E5C"/>
                </a:solidFill>
                <a:latin typeface="Arial"/>
                <a:cs typeface="Arial"/>
              </a:rPr>
              <a:t>It generates a sample </a:t>
            </a:r>
            <a:r>
              <a:rPr sz="2000" spc="-7" dirty="0">
                <a:solidFill>
                  <a:srgbClr val="4D4E5C"/>
                </a:solidFill>
                <a:latin typeface="Arial"/>
                <a:cs typeface="Arial"/>
              </a:rPr>
              <a:t>Maven </a:t>
            </a:r>
            <a:r>
              <a:rPr sz="2000" dirty="0">
                <a:solidFill>
                  <a:srgbClr val="4D4E5C"/>
                </a:solidFill>
                <a:latin typeface="Arial"/>
                <a:cs typeface="Arial"/>
              </a:rPr>
              <a:t>Webapp</a:t>
            </a:r>
            <a:r>
              <a:rPr sz="2000" spc="-93" dirty="0">
                <a:solidFill>
                  <a:srgbClr val="4D4E5C"/>
                </a:solidFill>
                <a:latin typeface="Arial"/>
                <a:cs typeface="Arial"/>
              </a:rPr>
              <a:t> </a:t>
            </a:r>
            <a:r>
              <a:rPr sz="2000" dirty="0">
                <a:solidFill>
                  <a:srgbClr val="4D4E5C"/>
                </a:solidFill>
                <a:latin typeface="Arial"/>
                <a:cs typeface="Arial"/>
              </a:rPr>
              <a:t>project.</a:t>
            </a:r>
            <a:endParaRPr sz="2000" dirty="0">
              <a:latin typeface="Arial"/>
              <a:cs typeface="Arial"/>
            </a:endParaRPr>
          </a:p>
          <a:p>
            <a:pPr marL="703562" marR="730655">
              <a:lnSpc>
                <a:spcPts val="2452"/>
              </a:lnSpc>
              <a:spcBef>
                <a:spcPts val="827"/>
              </a:spcBef>
            </a:pPr>
            <a:r>
              <a:rPr sz="2267" dirty="0">
                <a:solidFill>
                  <a:srgbClr val="4D4E5C"/>
                </a:solidFill>
                <a:latin typeface="Arial"/>
                <a:cs typeface="Arial"/>
              </a:rPr>
              <a:t>For </a:t>
            </a:r>
            <a:r>
              <a:rPr sz="2267" spc="-7" dirty="0">
                <a:solidFill>
                  <a:srgbClr val="4D4E5C"/>
                </a:solidFill>
                <a:latin typeface="Arial"/>
                <a:cs typeface="Arial"/>
              </a:rPr>
              <a:t>more information </a:t>
            </a:r>
            <a:r>
              <a:rPr sz="2267" dirty="0">
                <a:solidFill>
                  <a:srgbClr val="4D4E5C"/>
                </a:solidFill>
                <a:latin typeface="Arial"/>
                <a:cs typeface="Arial"/>
              </a:rPr>
              <a:t>on </a:t>
            </a:r>
            <a:r>
              <a:rPr sz="2267" spc="-7" dirty="0">
                <a:solidFill>
                  <a:srgbClr val="4D4E5C"/>
                </a:solidFill>
                <a:latin typeface="Arial"/>
                <a:cs typeface="Arial"/>
              </a:rPr>
              <a:t>archetype, </a:t>
            </a:r>
            <a:r>
              <a:rPr sz="2267" dirty="0">
                <a:solidFill>
                  <a:srgbClr val="4D4E5C"/>
                </a:solidFill>
                <a:latin typeface="Arial"/>
                <a:cs typeface="Arial"/>
              </a:rPr>
              <a:t>visit  </a:t>
            </a:r>
            <a:r>
              <a:rPr sz="2267" u="heavy" dirty="0">
                <a:solidFill>
                  <a:srgbClr val="1E1E23"/>
                </a:solidFill>
                <a:uFill>
                  <a:solidFill>
                    <a:srgbClr val="1E1E23"/>
                  </a:solidFill>
                </a:uFill>
                <a:latin typeface="Arial"/>
                <a:cs typeface="Arial"/>
                <a:hlinkClick r:id="rId2"/>
              </a:rPr>
              <a:t>h</a:t>
            </a:r>
            <a:r>
              <a:rPr sz="2267" u="heavy" spc="-13" dirty="0">
                <a:solidFill>
                  <a:srgbClr val="1E1E23"/>
                </a:solidFill>
                <a:uFill>
                  <a:solidFill>
                    <a:srgbClr val="1E1E23"/>
                  </a:solidFill>
                </a:uFill>
                <a:latin typeface="Arial"/>
                <a:cs typeface="Arial"/>
                <a:hlinkClick r:id="rId2"/>
              </a:rPr>
              <a:t>tt</a:t>
            </a:r>
            <a:r>
              <a:rPr sz="2267" u="heavy" dirty="0">
                <a:solidFill>
                  <a:srgbClr val="1E1E23"/>
                </a:solidFill>
                <a:uFill>
                  <a:solidFill>
                    <a:srgbClr val="1E1E23"/>
                  </a:solidFill>
                </a:uFill>
                <a:latin typeface="Arial"/>
                <a:cs typeface="Arial"/>
                <a:hlinkClick r:id="rId2"/>
              </a:rPr>
              <a:t>ps</a:t>
            </a:r>
            <a:r>
              <a:rPr sz="2267" u="heavy" spc="-13" dirty="0">
                <a:solidFill>
                  <a:srgbClr val="1E1E23"/>
                </a:solidFill>
                <a:uFill>
                  <a:solidFill>
                    <a:srgbClr val="1E1E23"/>
                  </a:solidFill>
                </a:uFill>
                <a:latin typeface="Arial"/>
                <a:cs typeface="Arial"/>
                <a:hlinkClick r:id="rId2"/>
              </a:rPr>
              <a:t>://</a:t>
            </a:r>
            <a:r>
              <a:rPr sz="2267" u="heavy" dirty="0">
                <a:solidFill>
                  <a:srgbClr val="1E1E23"/>
                </a:solidFill>
                <a:uFill>
                  <a:solidFill>
                    <a:srgbClr val="1E1E23"/>
                  </a:solidFill>
                </a:uFill>
                <a:latin typeface="Arial"/>
                <a:cs typeface="Arial"/>
                <a:hlinkClick r:id="rId2"/>
              </a:rPr>
              <a:t>maven</a:t>
            </a:r>
            <a:r>
              <a:rPr sz="2267" u="heavy" spc="-13" dirty="0">
                <a:solidFill>
                  <a:srgbClr val="1E1E23"/>
                </a:solidFill>
                <a:uFill>
                  <a:solidFill>
                    <a:srgbClr val="1E1E23"/>
                  </a:solidFill>
                </a:uFill>
                <a:latin typeface="Arial"/>
                <a:cs typeface="Arial"/>
                <a:hlinkClick r:id="rId2"/>
              </a:rPr>
              <a:t>.</a:t>
            </a:r>
            <a:r>
              <a:rPr sz="2267" u="heavy" dirty="0">
                <a:solidFill>
                  <a:srgbClr val="1E1E23"/>
                </a:solidFill>
                <a:uFill>
                  <a:solidFill>
                    <a:srgbClr val="1E1E23"/>
                  </a:solidFill>
                </a:uFill>
                <a:latin typeface="Arial"/>
                <a:cs typeface="Arial"/>
                <a:hlinkClick r:id="rId2"/>
              </a:rPr>
              <a:t>apache.o</a:t>
            </a:r>
            <a:r>
              <a:rPr sz="2267" u="heavy" spc="-13" dirty="0">
                <a:solidFill>
                  <a:srgbClr val="1E1E23"/>
                </a:solidFill>
                <a:uFill>
                  <a:solidFill>
                    <a:srgbClr val="1E1E23"/>
                  </a:solidFill>
                </a:uFill>
                <a:latin typeface="Arial"/>
                <a:cs typeface="Arial"/>
                <a:hlinkClick r:id="rId2"/>
              </a:rPr>
              <a:t>r</a:t>
            </a:r>
            <a:r>
              <a:rPr sz="2267" u="heavy" spc="13" dirty="0">
                <a:solidFill>
                  <a:srgbClr val="1E1E23"/>
                </a:solidFill>
                <a:uFill>
                  <a:solidFill>
                    <a:srgbClr val="1E1E23"/>
                  </a:solidFill>
                </a:uFill>
                <a:latin typeface="Arial"/>
                <a:cs typeface="Arial"/>
                <a:hlinkClick r:id="rId2"/>
              </a:rPr>
              <a:t>g</a:t>
            </a:r>
            <a:r>
              <a:rPr sz="2267" u="heavy" spc="-13" dirty="0">
                <a:solidFill>
                  <a:srgbClr val="1E1E23"/>
                </a:solidFill>
                <a:uFill>
                  <a:solidFill>
                    <a:srgbClr val="1E1E23"/>
                  </a:solidFill>
                </a:uFill>
                <a:latin typeface="Arial"/>
                <a:cs typeface="Arial"/>
                <a:hlinkClick r:id="rId2"/>
              </a:rPr>
              <a:t>/</a:t>
            </a:r>
            <a:r>
              <a:rPr sz="2267" u="heavy" dirty="0">
                <a:solidFill>
                  <a:srgbClr val="1E1E23"/>
                </a:solidFill>
                <a:uFill>
                  <a:solidFill>
                    <a:srgbClr val="1E1E23"/>
                  </a:solidFill>
                </a:uFill>
                <a:latin typeface="Arial"/>
                <a:cs typeface="Arial"/>
                <a:hlinkClick r:id="rId2"/>
              </a:rPr>
              <a:t>gu</a:t>
            </a:r>
            <a:r>
              <a:rPr sz="2267" u="heavy" spc="7" dirty="0">
                <a:solidFill>
                  <a:srgbClr val="1E1E23"/>
                </a:solidFill>
                <a:uFill>
                  <a:solidFill>
                    <a:srgbClr val="1E1E23"/>
                  </a:solidFill>
                </a:uFill>
                <a:latin typeface="Arial"/>
                <a:cs typeface="Arial"/>
                <a:hlinkClick r:id="rId2"/>
              </a:rPr>
              <a:t>i</a:t>
            </a:r>
            <a:r>
              <a:rPr sz="2267" u="heavy" dirty="0">
                <a:solidFill>
                  <a:srgbClr val="1E1E23"/>
                </a:solidFill>
                <a:uFill>
                  <a:solidFill>
                    <a:srgbClr val="1E1E23"/>
                  </a:solidFill>
                </a:uFill>
                <a:latin typeface="Arial"/>
                <a:cs typeface="Arial"/>
                <a:hlinkClick r:id="rId2"/>
              </a:rPr>
              <a:t>des/int</a:t>
            </a:r>
            <a:r>
              <a:rPr sz="2267" u="heavy" spc="-13" dirty="0">
                <a:solidFill>
                  <a:srgbClr val="1E1E23"/>
                </a:solidFill>
                <a:uFill>
                  <a:solidFill>
                    <a:srgbClr val="1E1E23"/>
                  </a:solidFill>
                </a:uFill>
                <a:latin typeface="Arial"/>
                <a:cs typeface="Arial"/>
                <a:hlinkClick r:id="rId2"/>
              </a:rPr>
              <a:t>r</a:t>
            </a:r>
            <a:r>
              <a:rPr sz="2267" u="heavy" dirty="0">
                <a:solidFill>
                  <a:srgbClr val="1E1E23"/>
                </a:solidFill>
                <a:uFill>
                  <a:solidFill>
                    <a:srgbClr val="1E1E23"/>
                  </a:solidFill>
                </a:uFill>
                <a:latin typeface="Arial"/>
                <a:cs typeface="Arial"/>
                <a:hlinkClick r:id="rId2"/>
              </a:rPr>
              <a:t>odu</a:t>
            </a:r>
            <a:r>
              <a:rPr sz="2267" u="heavy" spc="13" dirty="0">
                <a:solidFill>
                  <a:srgbClr val="1E1E23"/>
                </a:solidFill>
                <a:uFill>
                  <a:solidFill>
                    <a:srgbClr val="1E1E23"/>
                  </a:solidFill>
                </a:uFill>
                <a:latin typeface="Arial"/>
                <a:cs typeface="Arial"/>
                <a:hlinkClick r:id="rId2"/>
              </a:rPr>
              <a:t>c</a:t>
            </a:r>
            <a:r>
              <a:rPr sz="2267" u="heavy" spc="-13" dirty="0">
                <a:solidFill>
                  <a:srgbClr val="1E1E23"/>
                </a:solidFill>
                <a:uFill>
                  <a:solidFill>
                    <a:srgbClr val="1E1E23"/>
                  </a:solidFill>
                </a:uFill>
                <a:latin typeface="Arial"/>
                <a:cs typeface="Arial"/>
                <a:hlinkClick r:id="rId2"/>
              </a:rPr>
              <a:t>t</a:t>
            </a:r>
            <a:r>
              <a:rPr sz="2267" u="heavy" dirty="0">
                <a:solidFill>
                  <a:srgbClr val="1E1E23"/>
                </a:solidFill>
                <a:uFill>
                  <a:solidFill>
                    <a:srgbClr val="1E1E23"/>
                  </a:solidFill>
                </a:uFill>
                <a:latin typeface="Arial"/>
                <a:cs typeface="Arial"/>
                <a:hlinkClick r:id="rId2"/>
              </a:rPr>
              <a:t>ion/int</a:t>
            </a:r>
            <a:r>
              <a:rPr sz="2267" u="heavy" spc="-13" dirty="0">
                <a:solidFill>
                  <a:srgbClr val="1E1E23"/>
                </a:solidFill>
                <a:uFill>
                  <a:solidFill>
                    <a:srgbClr val="1E1E23"/>
                  </a:solidFill>
                </a:uFill>
                <a:latin typeface="Arial"/>
                <a:cs typeface="Arial"/>
                <a:hlinkClick r:id="rId2"/>
              </a:rPr>
              <a:t>r</a:t>
            </a:r>
            <a:r>
              <a:rPr sz="2267" u="heavy" dirty="0">
                <a:solidFill>
                  <a:srgbClr val="1E1E23"/>
                </a:solidFill>
                <a:uFill>
                  <a:solidFill>
                    <a:srgbClr val="1E1E23"/>
                  </a:solidFill>
                </a:uFill>
                <a:latin typeface="Arial"/>
                <a:cs typeface="Arial"/>
                <a:hlinkClick r:id="rId2"/>
              </a:rPr>
              <a:t>odu</a:t>
            </a:r>
            <a:r>
              <a:rPr sz="2267" u="heavy" spc="13" dirty="0">
                <a:solidFill>
                  <a:srgbClr val="1E1E23"/>
                </a:solidFill>
                <a:uFill>
                  <a:solidFill>
                    <a:srgbClr val="1E1E23"/>
                  </a:solidFill>
                </a:uFill>
                <a:latin typeface="Arial"/>
                <a:cs typeface="Arial"/>
                <a:hlinkClick r:id="rId2"/>
              </a:rPr>
              <a:t>c</a:t>
            </a:r>
            <a:r>
              <a:rPr sz="2267" u="heavy" spc="-13" dirty="0">
                <a:solidFill>
                  <a:srgbClr val="1E1E23"/>
                </a:solidFill>
                <a:uFill>
                  <a:solidFill>
                    <a:srgbClr val="1E1E23"/>
                  </a:solidFill>
                </a:uFill>
                <a:latin typeface="Arial"/>
                <a:cs typeface="Arial"/>
                <a:hlinkClick r:id="rId2"/>
              </a:rPr>
              <a:t>t</a:t>
            </a:r>
            <a:r>
              <a:rPr sz="2267" u="heavy" dirty="0">
                <a:solidFill>
                  <a:srgbClr val="1E1E23"/>
                </a:solidFill>
                <a:uFill>
                  <a:solidFill>
                    <a:srgbClr val="1E1E23"/>
                  </a:solidFill>
                </a:uFill>
                <a:latin typeface="Arial"/>
                <a:cs typeface="Arial"/>
                <a:hlinkClick r:id="rId2"/>
              </a:rPr>
              <a:t>io</a:t>
            </a:r>
            <a:r>
              <a:rPr sz="2267" u="heavy" spc="20" dirty="0">
                <a:solidFill>
                  <a:srgbClr val="1E1E23"/>
                </a:solidFill>
                <a:uFill>
                  <a:solidFill>
                    <a:srgbClr val="1E1E23"/>
                  </a:solidFill>
                </a:uFill>
                <a:latin typeface="Arial"/>
                <a:cs typeface="Arial"/>
                <a:hlinkClick r:id="rId2"/>
              </a:rPr>
              <a:t>n</a:t>
            </a:r>
            <a:r>
              <a:rPr sz="2267" u="heavy" spc="-7" dirty="0">
                <a:solidFill>
                  <a:srgbClr val="1E1E23"/>
                </a:solidFill>
                <a:uFill>
                  <a:solidFill>
                    <a:srgbClr val="1E1E23"/>
                  </a:solidFill>
                </a:uFill>
                <a:latin typeface="Arial"/>
                <a:cs typeface="Arial"/>
                <a:hlinkClick r:id="rId2"/>
              </a:rPr>
              <a:t>-</a:t>
            </a:r>
            <a:r>
              <a:rPr sz="2267" u="heavy" spc="-13" dirty="0">
                <a:solidFill>
                  <a:srgbClr val="1E1E23"/>
                </a:solidFill>
                <a:uFill>
                  <a:solidFill>
                    <a:srgbClr val="1E1E23"/>
                  </a:solidFill>
                </a:uFill>
                <a:latin typeface="Arial"/>
                <a:cs typeface="Arial"/>
                <a:hlinkClick r:id="rId2"/>
              </a:rPr>
              <a:t>t</a:t>
            </a:r>
            <a:r>
              <a:rPr sz="2267" u="heavy" dirty="0">
                <a:solidFill>
                  <a:srgbClr val="1E1E23"/>
                </a:solidFill>
                <a:uFill>
                  <a:solidFill>
                    <a:srgbClr val="1E1E23"/>
                  </a:solidFill>
                </a:uFill>
                <a:latin typeface="Arial"/>
                <a:cs typeface="Arial"/>
                <a:hlinkClick r:id="rId2"/>
              </a:rPr>
              <a:t>o</a:t>
            </a:r>
            <a:r>
              <a:rPr sz="2267" u="heavy" spc="-7" dirty="0">
                <a:solidFill>
                  <a:srgbClr val="1E1E23"/>
                </a:solidFill>
                <a:uFill>
                  <a:solidFill>
                    <a:srgbClr val="1E1E23"/>
                  </a:solidFill>
                </a:uFill>
                <a:latin typeface="Arial"/>
                <a:cs typeface="Arial"/>
                <a:hlinkClick r:id="rId2"/>
              </a:rPr>
              <a:t>-</a:t>
            </a:r>
            <a:r>
              <a:rPr sz="2267" u="heavy" dirty="0">
                <a:solidFill>
                  <a:srgbClr val="1E1E23"/>
                </a:solidFill>
                <a:uFill>
                  <a:solidFill>
                    <a:srgbClr val="1E1E23"/>
                  </a:solidFill>
                </a:uFill>
                <a:latin typeface="Arial"/>
                <a:cs typeface="Arial"/>
                <a:hlinkClick r:id="rId2"/>
              </a:rPr>
              <a:t>arch</a:t>
            </a:r>
            <a:r>
              <a:rPr sz="2267" u="heavy" spc="7" dirty="0">
                <a:solidFill>
                  <a:srgbClr val="1E1E23"/>
                </a:solidFill>
                <a:uFill>
                  <a:solidFill>
                    <a:srgbClr val="1E1E23"/>
                  </a:solidFill>
                </a:uFill>
                <a:latin typeface="Arial"/>
                <a:cs typeface="Arial"/>
                <a:hlinkClick r:id="rId2"/>
              </a:rPr>
              <a:t>et</a:t>
            </a:r>
            <a:r>
              <a:rPr sz="2267" u="heavy" spc="-20" dirty="0">
                <a:solidFill>
                  <a:srgbClr val="1E1E23"/>
                </a:solidFill>
                <a:uFill>
                  <a:solidFill>
                    <a:srgbClr val="1E1E23"/>
                  </a:solidFill>
                </a:uFill>
                <a:latin typeface="Arial"/>
                <a:cs typeface="Arial"/>
                <a:hlinkClick r:id="rId2"/>
              </a:rPr>
              <a:t>y</a:t>
            </a:r>
            <a:r>
              <a:rPr sz="2267" u="heavy" dirty="0">
                <a:solidFill>
                  <a:srgbClr val="1E1E23"/>
                </a:solidFill>
                <a:uFill>
                  <a:solidFill>
                    <a:srgbClr val="1E1E23"/>
                  </a:solidFill>
                </a:uFill>
                <a:latin typeface="Arial"/>
                <a:cs typeface="Arial"/>
                <a:hlinkClick r:id="rId2"/>
              </a:rPr>
              <a:t>pes.</a:t>
            </a:r>
            <a:r>
              <a:rPr sz="2267" u="heavy" spc="7" dirty="0">
                <a:solidFill>
                  <a:srgbClr val="1E1E23"/>
                </a:solidFill>
                <a:uFill>
                  <a:solidFill>
                    <a:srgbClr val="1E1E23"/>
                  </a:solidFill>
                </a:uFill>
                <a:latin typeface="Arial"/>
                <a:cs typeface="Arial"/>
                <a:hlinkClick r:id="rId2"/>
              </a:rPr>
              <a:t>h</a:t>
            </a:r>
            <a:r>
              <a:rPr sz="2267" u="heavy" spc="-13" dirty="0">
                <a:solidFill>
                  <a:srgbClr val="1E1E23"/>
                </a:solidFill>
                <a:uFill>
                  <a:solidFill>
                    <a:srgbClr val="1E1E23"/>
                  </a:solidFill>
                </a:uFill>
                <a:latin typeface="Arial"/>
                <a:cs typeface="Arial"/>
                <a:hlinkClick r:id="rId2"/>
              </a:rPr>
              <a:t>t</a:t>
            </a:r>
            <a:r>
              <a:rPr sz="2267" u="heavy" dirty="0">
                <a:solidFill>
                  <a:srgbClr val="1E1E23"/>
                </a:solidFill>
                <a:uFill>
                  <a:solidFill>
                    <a:srgbClr val="1E1E23"/>
                  </a:solidFill>
                </a:uFill>
                <a:latin typeface="Arial"/>
                <a:cs typeface="Arial"/>
                <a:hlinkClick r:id="rId2"/>
              </a:rPr>
              <a:t>ml</a:t>
            </a:r>
            <a:endParaRPr sz="2267" dirty="0">
              <a:latin typeface="Arial"/>
              <a:cs typeface="Arial"/>
            </a:endParaRPr>
          </a:p>
        </p:txBody>
      </p:sp>
    </p:spTree>
    <p:extLst>
      <p:ext uri="{BB962C8B-B14F-4D97-AF65-F5344CB8AC3E}">
        <p14:creationId xmlns:p14="http://schemas.microsoft.com/office/powerpoint/2010/main" val="370782560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173017" y="93133"/>
            <a:ext cx="3158837" cy="479618"/>
          </a:xfrm>
          <a:prstGeom prst="rect">
            <a:avLst/>
          </a:prstGeom>
        </p:spPr>
        <p:txBody>
          <a:bodyPr vert="horz" wrap="square" lIns="0" tIns="17780" rIns="0" bIns="0" numCol="1" rtlCol="0" anchor="t" anchorCtr="0" compatLnSpc="1">
            <a:prstTxWarp prst="textNoShape">
              <a:avLst/>
            </a:prstTxWarp>
            <a:spAutoFit/>
          </a:bodyPr>
          <a:lstStyle/>
          <a:p>
            <a:pPr marL="16933">
              <a:spcBef>
                <a:spcPts val="140"/>
              </a:spcBef>
            </a:pPr>
            <a:r>
              <a:rPr dirty="0"/>
              <a:t>Maven </a:t>
            </a:r>
            <a:r>
              <a:rPr spc="-7" dirty="0"/>
              <a:t>life</a:t>
            </a:r>
            <a:r>
              <a:rPr spc="-87" dirty="0"/>
              <a:t> </a:t>
            </a:r>
            <a:r>
              <a:rPr spc="-7" dirty="0"/>
              <a:t>cycle</a:t>
            </a:r>
          </a:p>
        </p:txBody>
      </p:sp>
      <p:sp>
        <p:nvSpPr>
          <p:cNvPr id="3" name="object 3"/>
          <p:cNvSpPr txBox="1"/>
          <p:nvPr/>
        </p:nvSpPr>
        <p:spPr>
          <a:xfrm>
            <a:off x="206586" y="1008379"/>
            <a:ext cx="11468100" cy="5496569"/>
          </a:xfrm>
          <a:prstGeom prst="rect">
            <a:avLst/>
          </a:prstGeom>
        </p:spPr>
        <p:txBody>
          <a:bodyPr vert="horz" wrap="square" lIns="0" tIns="17780" rIns="0" bIns="0" rtlCol="0">
            <a:spAutoFit/>
          </a:bodyPr>
          <a:lstStyle/>
          <a:p>
            <a:pPr marL="325112" marR="830559" indent="-308179">
              <a:spcBef>
                <a:spcPts val="140"/>
              </a:spcBef>
              <a:buClr>
                <a:srgbClr val="00AFEF"/>
              </a:buClr>
              <a:buFont typeface="Wingdings"/>
              <a:buChar char=""/>
              <a:tabLst>
                <a:tab pos="325959" algn="l"/>
              </a:tabLst>
            </a:pPr>
            <a:r>
              <a:rPr sz="2667" spc="-7" dirty="0">
                <a:solidFill>
                  <a:srgbClr val="4D4E5C"/>
                </a:solidFill>
                <a:latin typeface="Arial"/>
                <a:cs typeface="Arial"/>
              </a:rPr>
              <a:t>Maven’s default life </a:t>
            </a:r>
            <a:r>
              <a:rPr sz="2667" dirty="0">
                <a:solidFill>
                  <a:srgbClr val="4D4E5C"/>
                </a:solidFill>
                <a:latin typeface="Arial"/>
                <a:cs typeface="Arial"/>
              </a:rPr>
              <a:t>cycle </a:t>
            </a:r>
            <a:r>
              <a:rPr sz="2667" spc="-7" dirty="0">
                <a:solidFill>
                  <a:srgbClr val="4D4E5C"/>
                </a:solidFill>
                <a:latin typeface="Arial"/>
                <a:cs typeface="Arial"/>
              </a:rPr>
              <a:t>include </a:t>
            </a:r>
            <a:r>
              <a:rPr sz="2667" dirty="0">
                <a:solidFill>
                  <a:srgbClr val="4D4E5C"/>
                </a:solidFill>
                <a:latin typeface="Arial"/>
                <a:cs typeface="Arial"/>
              </a:rPr>
              <a:t>the most common </a:t>
            </a:r>
            <a:r>
              <a:rPr sz="2667" spc="-7" dirty="0">
                <a:solidFill>
                  <a:srgbClr val="4D4E5C"/>
                </a:solidFill>
                <a:latin typeface="Arial"/>
                <a:cs typeface="Arial"/>
              </a:rPr>
              <a:t>build phases like  </a:t>
            </a:r>
            <a:r>
              <a:rPr sz="2667" dirty="0">
                <a:solidFill>
                  <a:srgbClr val="4D4E5C"/>
                </a:solidFill>
                <a:latin typeface="Arial"/>
                <a:cs typeface="Arial"/>
              </a:rPr>
              <a:t>testing.</a:t>
            </a:r>
            <a:endParaRPr sz="2667" dirty="0">
              <a:latin typeface="Arial"/>
              <a:cs typeface="Arial"/>
            </a:endParaRPr>
          </a:p>
          <a:p>
            <a:pPr marL="325112" indent="-308179">
              <a:spcBef>
                <a:spcPts val="800"/>
              </a:spcBef>
              <a:buClr>
                <a:srgbClr val="00AFEF"/>
              </a:buClr>
              <a:buFont typeface="Wingdings"/>
              <a:buChar char=""/>
              <a:tabLst>
                <a:tab pos="325959" algn="l"/>
              </a:tabLst>
            </a:pPr>
            <a:r>
              <a:rPr sz="2667" dirty="0">
                <a:solidFill>
                  <a:srgbClr val="4D4E5C"/>
                </a:solidFill>
                <a:latin typeface="Arial"/>
                <a:cs typeface="Arial"/>
              </a:rPr>
              <a:t>The important Maven </a:t>
            </a:r>
            <a:r>
              <a:rPr sz="2667" spc="-7" dirty="0">
                <a:solidFill>
                  <a:srgbClr val="4D4E5C"/>
                </a:solidFill>
                <a:latin typeface="Arial"/>
                <a:cs typeface="Arial"/>
              </a:rPr>
              <a:t>life </a:t>
            </a:r>
            <a:r>
              <a:rPr sz="2667" dirty="0">
                <a:solidFill>
                  <a:srgbClr val="4D4E5C"/>
                </a:solidFill>
                <a:latin typeface="Arial"/>
                <a:cs typeface="Arial"/>
              </a:rPr>
              <a:t>cycle phases include the following</a:t>
            </a:r>
            <a:r>
              <a:rPr sz="2667" spc="-200" dirty="0">
                <a:solidFill>
                  <a:srgbClr val="4D4E5C"/>
                </a:solidFill>
                <a:latin typeface="Arial"/>
                <a:cs typeface="Arial"/>
              </a:rPr>
              <a:t> </a:t>
            </a:r>
            <a:r>
              <a:rPr sz="2667" dirty="0">
                <a:solidFill>
                  <a:srgbClr val="4D4E5C"/>
                </a:solidFill>
                <a:latin typeface="Arial"/>
                <a:cs typeface="Arial"/>
              </a:rPr>
              <a:t>list:</a:t>
            </a:r>
            <a:endParaRPr sz="2667" dirty="0">
              <a:latin typeface="Arial"/>
              <a:cs typeface="Arial"/>
            </a:endParaRPr>
          </a:p>
          <a:p>
            <a:pPr marL="1008355" lvl="1" indent="-381837">
              <a:spcBef>
                <a:spcPts val="813"/>
              </a:spcBef>
              <a:buClr>
                <a:srgbClr val="00AFEF"/>
              </a:buClr>
              <a:buFont typeface="Wingdings"/>
              <a:buChar char=""/>
              <a:tabLst>
                <a:tab pos="1008355" algn="l"/>
                <a:tab pos="1009201" algn="l"/>
              </a:tabLst>
            </a:pPr>
            <a:r>
              <a:rPr sz="2400" spc="-7" dirty="0">
                <a:solidFill>
                  <a:srgbClr val="4D4E5C"/>
                </a:solidFill>
                <a:latin typeface="Arial"/>
                <a:cs typeface="Arial"/>
              </a:rPr>
              <a:t>validate </a:t>
            </a:r>
            <a:r>
              <a:rPr sz="2400" dirty="0">
                <a:solidFill>
                  <a:srgbClr val="4D4E5C"/>
                </a:solidFill>
                <a:latin typeface="Arial"/>
                <a:cs typeface="Arial"/>
              </a:rPr>
              <a:t>– It </a:t>
            </a:r>
            <a:r>
              <a:rPr sz="2400" spc="-7" dirty="0">
                <a:solidFill>
                  <a:srgbClr val="4D4E5C"/>
                </a:solidFill>
                <a:latin typeface="Arial"/>
                <a:cs typeface="Arial"/>
              </a:rPr>
              <a:t>checks </a:t>
            </a:r>
            <a:r>
              <a:rPr sz="2400" spc="-13" dirty="0">
                <a:solidFill>
                  <a:srgbClr val="4D4E5C"/>
                </a:solidFill>
                <a:latin typeface="Arial"/>
                <a:cs typeface="Arial"/>
              </a:rPr>
              <a:t>whether </a:t>
            </a:r>
            <a:r>
              <a:rPr sz="2400" dirty="0">
                <a:solidFill>
                  <a:srgbClr val="4D4E5C"/>
                </a:solidFill>
                <a:latin typeface="Arial"/>
                <a:cs typeface="Arial"/>
              </a:rPr>
              <a:t>the </a:t>
            </a:r>
            <a:r>
              <a:rPr sz="2400" spc="-7" dirty="0">
                <a:solidFill>
                  <a:srgbClr val="4D4E5C"/>
                </a:solidFill>
                <a:latin typeface="Arial"/>
                <a:cs typeface="Arial"/>
              </a:rPr>
              <a:t>project is correct </a:t>
            </a:r>
            <a:r>
              <a:rPr sz="2400" dirty="0">
                <a:solidFill>
                  <a:srgbClr val="4D4E5C"/>
                </a:solidFill>
                <a:latin typeface="Arial"/>
                <a:cs typeface="Arial"/>
              </a:rPr>
              <a:t>&amp; </a:t>
            </a:r>
            <a:r>
              <a:rPr sz="2400" spc="-7" dirty="0">
                <a:solidFill>
                  <a:srgbClr val="4D4E5C"/>
                </a:solidFill>
                <a:latin typeface="Arial"/>
                <a:cs typeface="Arial"/>
              </a:rPr>
              <a:t>all information is</a:t>
            </a:r>
            <a:r>
              <a:rPr sz="2400" spc="233" dirty="0">
                <a:solidFill>
                  <a:srgbClr val="4D4E5C"/>
                </a:solidFill>
                <a:latin typeface="Arial"/>
                <a:cs typeface="Arial"/>
              </a:rPr>
              <a:t> </a:t>
            </a:r>
            <a:r>
              <a:rPr sz="2400" spc="-7" dirty="0">
                <a:solidFill>
                  <a:srgbClr val="4D4E5C"/>
                </a:solidFill>
                <a:latin typeface="Arial"/>
                <a:cs typeface="Arial"/>
              </a:rPr>
              <a:t>available</a:t>
            </a:r>
            <a:endParaRPr sz="2400" dirty="0">
              <a:latin typeface="Arial"/>
              <a:cs typeface="Arial"/>
            </a:endParaRPr>
          </a:p>
          <a:p>
            <a:pPr marL="1008355" lvl="1" indent="-381837">
              <a:spcBef>
                <a:spcPts val="800"/>
              </a:spcBef>
              <a:buClr>
                <a:srgbClr val="00AFEF"/>
              </a:buClr>
              <a:buFont typeface="Wingdings"/>
              <a:buChar char=""/>
              <a:tabLst>
                <a:tab pos="1008355" algn="l"/>
                <a:tab pos="1009201" algn="l"/>
              </a:tabLst>
            </a:pPr>
            <a:r>
              <a:rPr sz="2400" spc="-7" dirty="0">
                <a:solidFill>
                  <a:srgbClr val="4D4E5C"/>
                </a:solidFill>
                <a:latin typeface="Arial"/>
                <a:cs typeface="Arial"/>
              </a:rPr>
              <a:t>compile </a:t>
            </a:r>
            <a:r>
              <a:rPr sz="2400" dirty="0">
                <a:solidFill>
                  <a:srgbClr val="4D4E5C"/>
                </a:solidFill>
                <a:latin typeface="Arial"/>
                <a:cs typeface="Arial"/>
              </a:rPr>
              <a:t>– It </a:t>
            </a:r>
            <a:r>
              <a:rPr sz="2400" spc="-7" dirty="0">
                <a:solidFill>
                  <a:srgbClr val="4D4E5C"/>
                </a:solidFill>
                <a:latin typeface="Arial"/>
                <a:cs typeface="Arial"/>
              </a:rPr>
              <a:t>compiles source code into binary</a:t>
            </a:r>
            <a:r>
              <a:rPr sz="2400" spc="80" dirty="0">
                <a:solidFill>
                  <a:srgbClr val="4D4E5C"/>
                </a:solidFill>
                <a:latin typeface="Arial"/>
                <a:cs typeface="Arial"/>
              </a:rPr>
              <a:t> </a:t>
            </a:r>
            <a:r>
              <a:rPr sz="2400" spc="-7" dirty="0">
                <a:solidFill>
                  <a:srgbClr val="4D4E5C"/>
                </a:solidFill>
                <a:latin typeface="Arial"/>
                <a:cs typeface="Arial"/>
              </a:rPr>
              <a:t>artifacts</a:t>
            </a:r>
            <a:endParaRPr sz="2400" dirty="0">
              <a:latin typeface="Arial"/>
              <a:cs typeface="Arial"/>
            </a:endParaRPr>
          </a:p>
          <a:p>
            <a:pPr marL="1008355" lvl="1" indent="-381837">
              <a:spcBef>
                <a:spcPts val="800"/>
              </a:spcBef>
              <a:buClr>
                <a:srgbClr val="00AFEF"/>
              </a:buClr>
              <a:buFont typeface="Wingdings"/>
              <a:buChar char=""/>
              <a:tabLst>
                <a:tab pos="1008355" algn="l"/>
                <a:tab pos="1009201" algn="l"/>
              </a:tabLst>
            </a:pPr>
            <a:r>
              <a:rPr sz="2400" dirty="0">
                <a:solidFill>
                  <a:srgbClr val="4D4E5C"/>
                </a:solidFill>
                <a:latin typeface="Arial"/>
                <a:cs typeface="Arial"/>
              </a:rPr>
              <a:t>test – It </a:t>
            </a:r>
            <a:r>
              <a:rPr sz="2400" spc="-7" dirty="0">
                <a:solidFill>
                  <a:srgbClr val="4D4E5C"/>
                </a:solidFill>
                <a:latin typeface="Arial"/>
                <a:cs typeface="Arial"/>
              </a:rPr>
              <a:t>executes </a:t>
            </a:r>
            <a:r>
              <a:rPr sz="2400" dirty="0">
                <a:solidFill>
                  <a:srgbClr val="4D4E5C"/>
                </a:solidFill>
                <a:latin typeface="Arial"/>
                <a:cs typeface="Arial"/>
              </a:rPr>
              <a:t>the</a:t>
            </a:r>
            <a:r>
              <a:rPr sz="2400" spc="-13" dirty="0">
                <a:solidFill>
                  <a:srgbClr val="4D4E5C"/>
                </a:solidFill>
                <a:latin typeface="Arial"/>
                <a:cs typeface="Arial"/>
              </a:rPr>
              <a:t> </a:t>
            </a:r>
            <a:r>
              <a:rPr sz="2400" spc="-7" dirty="0">
                <a:solidFill>
                  <a:srgbClr val="4D4E5C"/>
                </a:solidFill>
                <a:latin typeface="Arial"/>
                <a:cs typeface="Arial"/>
              </a:rPr>
              <a:t>tests</a:t>
            </a:r>
            <a:endParaRPr sz="2400" dirty="0">
              <a:latin typeface="Arial"/>
              <a:cs typeface="Arial"/>
            </a:endParaRPr>
          </a:p>
          <a:p>
            <a:pPr marL="1008355" lvl="1" indent="-381837">
              <a:spcBef>
                <a:spcPts val="800"/>
              </a:spcBef>
              <a:buClr>
                <a:srgbClr val="00AFEF"/>
              </a:buClr>
              <a:buFont typeface="Wingdings"/>
              <a:buChar char=""/>
              <a:tabLst>
                <a:tab pos="1008355" algn="l"/>
                <a:tab pos="1009201" algn="l"/>
              </a:tabLst>
            </a:pPr>
            <a:r>
              <a:rPr sz="2400" spc="-7" dirty="0">
                <a:solidFill>
                  <a:srgbClr val="4D4E5C"/>
                </a:solidFill>
                <a:latin typeface="Arial"/>
                <a:cs typeface="Arial"/>
              </a:rPr>
              <a:t>package </a:t>
            </a:r>
            <a:r>
              <a:rPr sz="2400" dirty="0">
                <a:solidFill>
                  <a:srgbClr val="4D4E5C"/>
                </a:solidFill>
                <a:latin typeface="Arial"/>
                <a:cs typeface="Arial"/>
              </a:rPr>
              <a:t>– It </a:t>
            </a:r>
            <a:r>
              <a:rPr sz="2400" spc="-7" dirty="0">
                <a:solidFill>
                  <a:srgbClr val="4D4E5C"/>
                </a:solidFill>
                <a:latin typeface="Arial"/>
                <a:cs typeface="Arial"/>
              </a:rPr>
              <a:t>takes </a:t>
            </a:r>
            <a:r>
              <a:rPr sz="2400" dirty="0">
                <a:solidFill>
                  <a:srgbClr val="4D4E5C"/>
                </a:solidFill>
                <a:latin typeface="Arial"/>
                <a:cs typeface="Arial"/>
              </a:rPr>
              <a:t>the </a:t>
            </a:r>
            <a:r>
              <a:rPr sz="2400" spc="-7" dirty="0">
                <a:solidFill>
                  <a:srgbClr val="4D4E5C"/>
                </a:solidFill>
                <a:latin typeface="Arial"/>
                <a:cs typeface="Arial"/>
              </a:rPr>
              <a:t>compiled code </a:t>
            </a:r>
            <a:r>
              <a:rPr sz="2400" dirty="0">
                <a:solidFill>
                  <a:srgbClr val="4D4E5C"/>
                </a:solidFill>
                <a:latin typeface="Arial"/>
                <a:cs typeface="Arial"/>
              </a:rPr>
              <a:t>&amp; </a:t>
            </a:r>
            <a:r>
              <a:rPr sz="2400" spc="-7" dirty="0">
                <a:solidFill>
                  <a:srgbClr val="4D4E5C"/>
                </a:solidFill>
                <a:latin typeface="Arial"/>
                <a:cs typeface="Arial"/>
              </a:rPr>
              <a:t>package </a:t>
            </a:r>
            <a:r>
              <a:rPr sz="2400" dirty="0">
                <a:solidFill>
                  <a:srgbClr val="4D4E5C"/>
                </a:solidFill>
                <a:latin typeface="Arial"/>
                <a:cs typeface="Arial"/>
              </a:rPr>
              <a:t>it </a:t>
            </a:r>
            <a:r>
              <a:rPr sz="2400" spc="-7" dirty="0">
                <a:solidFill>
                  <a:srgbClr val="4D4E5C"/>
                </a:solidFill>
                <a:latin typeface="Arial"/>
                <a:cs typeface="Arial"/>
              </a:rPr>
              <a:t>into </a:t>
            </a:r>
            <a:r>
              <a:rPr sz="2400" spc="-13" dirty="0">
                <a:solidFill>
                  <a:srgbClr val="4D4E5C"/>
                </a:solidFill>
                <a:latin typeface="Arial"/>
                <a:cs typeface="Arial"/>
              </a:rPr>
              <a:t>jar/war/ear</a:t>
            </a:r>
            <a:r>
              <a:rPr sz="2400" spc="180" dirty="0">
                <a:solidFill>
                  <a:srgbClr val="4D4E5C"/>
                </a:solidFill>
                <a:latin typeface="Arial"/>
                <a:cs typeface="Arial"/>
              </a:rPr>
              <a:t> </a:t>
            </a:r>
            <a:r>
              <a:rPr sz="2400" spc="-7" dirty="0">
                <a:solidFill>
                  <a:srgbClr val="4D4E5C"/>
                </a:solidFill>
                <a:latin typeface="Arial"/>
                <a:cs typeface="Arial"/>
              </a:rPr>
              <a:t>files</a:t>
            </a:r>
            <a:endParaRPr sz="2400" dirty="0">
              <a:latin typeface="Arial"/>
              <a:cs typeface="Arial"/>
            </a:endParaRPr>
          </a:p>
          <a:p>
            <a:pPr marL="1008355" lvl="1" indent="-381837">
              <a:spcBef>
                <a:spcPts val="800"/>
              </a:spcBef>
              <a:buClr>
                <a:srgbClr val="00AFEF"/>
              </a:buClr>
              <a:buFont typeface="Wingdings"/>
              <a:buChar char=""/>
              <a:tabLst>
                <a:tab pos="1008355" algn="l"/>
                <a:tab pos="1009201" algn="l"/>
              </a:tabLst>
            </a:pPr>
            <a:r>
              <a:rPr sz="2400" spc="-7" dirty="0">
                <a:solidFill>
                  <a:srgbClr val="4D4E5C"/>
                </a:solidFill>
                <a:latin typeface="Arial"/>
                <a:cs typeface="Arial"/>
              </a:rPr>
              <a:t>integration-test </a:t>
            </a:r>
            <a:r>
              <a:rPr sz="2400" dirty="0">
                <a:solidFill>
                  <a:srgbClr val="4D4E5C"/>
                </a:solidFill>
                <a:latin typeface="Arial"/>
                <a:cs typeface="Arial"/>
              </a:rPr>
              <a:t>– It takes </a:t>
            </a:r>
            <a:r>
              <a:rPr sz="2400" spc="-7" dirty="0">
                <a:solidFill>
                  <a:srgbClr val="4D4E5C"/>
                </a:solidFill>
                <a:latin typeface="Arial"/>
                <a:cs typeface="Arial"/>
              </a:rPr>
              <a:t>packaged result </a:t>
            </a:r>
            <a:r>
              <a:rPr sz="2400" dirty="0">
                <a:solidFill>
                  <a:srgbClr val="4D4E5C"/>
                </a:solidFill>
                <a:latin typeface="Arial"/>
                <a:cs typeface="Arial"/>
              </a:rPr>
              <a:t>&amp; </a:t>
            </a:r>
            <a:r>
              <a:rPr sz="2400" spc="-7" dirty="0">
                <a:solidFill>
                  <a:srgbClr val="4D4E5C"/>
                </a:solidFill>
                <a:latin typeface="Arial"/>
                <a:cs typeface="Arial"/>
              </a:rPr>
              <a:t>executes additional </a:t>
            </a:r>
            <a:r>
              <a:rPr sz="2400" dirty="0">
                <a:solidFill>
                  <a:srgbClr val="4D4E5C"/>
                </a:solidFill>
                <a:latin typeface="Arial"/>
                <a:cs typeface="Arial"/>
              </a:rPr>
              <a:t>tests,</a:t>
            </a:r>
            <a:r>
              <a:rPr sz="2400" spc="213" dirty="0">
                <a:solidFill>
                  <a:srgbClr val="4D4E5C"/>
                </a:solidFill>
                <a:latin typeface="Arial"/>
                <a:cs typeface="Arial"/>
              </a:rPr>
              <a:t> </a:t>
            </a:r>
            <a:r>
              <a:rPr sz="2400" dirty="0">
                <a:solidFill>
                  <a:srgbClr val="4D4E5C"/>
                </a:solidFill>
                <a:latin typeface="Arial"/>
                <a:cs typeface="Arial"/>
              </a:rPr>
              <a:t>that</a:t>
            </a:r>
            <a:endParaRPr sz="2400" dirty="0">
              <a:latin typeface="Arial"/>
              <a:cs typeface="Arial"/>
            </a:endParaRPr>
          </a:p>
          <a:p>
            <a:pPr marL="1008355"/>
            <a:r>
              <a:rPr sz="2400" spc="-7" dirty="0">
                <a:solidFill>
                  <a:srgbClr val="4D4E5C"/>
                </a:solidFill>
                <a:latin typeface="Arial"/>
                <a:cs typeface="Arial"/>
              </a:rPr>
              <a:t>requires </a:t>
            </a:r>
            <a:r>
              <a:rPr sz="2400" dirty="0">
                <a:solidFill>
                  <a:srgbClr val="4D4E5C"/>
                </a:solidFill>
                <a:latin typeface="Arial"/>
                <a:cs typeface="Arial"/>
              </a:rPr>
              <a:t>the </a:t>
            </a:r>
            <a:r>
              <a:rPr sz="2400" spc="-7" dirty="0">
                <a:solidFill>
                  <a:srgbClr val="4D4E5C"/>
                </a:solidFill>
                <a:latin typeface="Arial"/>
                <a:cs typeface="Arial"/>
              </a:rPr>
              <a:t>packaging</a:t>
            </a:r>
            <a:endParaRPr sz="2400" dirty="0">
              <a:latin typeface="Arial"/>
              <a:cs typeface="Arial"/>
            </a:endParaRPr>
          </a:p>
          <a:p>
            <a:pPr marL="1008355" lvl="1" indent="-381837">
              <a:spcBef>
                <a:spcPts val="807"/>
              </a:spcBef>
              <a:buClr>
                <a:srgbClr val="00AFEF"/>
              </a:buClr>
              <a:buFont typeface="Wingdings"/>
              <a:buChar char=""/>
              <a:tabLst>
                <a:tab pos="1008355" algn="l"/>
                <a:tab pos="1009201" algn="l"/>
              </a:tabLst>
            </a:pPr>
            <a:r>
              <a:rPr sz="2400" spc="-7" dirty="0">
                <a:solidFill>
                  <a:srgbClr val="4D4E5C"/>
                </a:solidFill>
                <a:latin typeface="Arial"/>
                <a:cs typeface="Arial"/>
              </a:rPr>
              <a:t>verify </a:t>
            </a:r>
            <a:r>
              <a:rPr sz="2400" dirty="0">
                <a:solidFill>
                  <a:srgbClr val="4D4E5C"/>
                </a:solidFill>
                <a:latin typeface="Arial"/>
                <a:cs typeface="Arial"/>
              </a:rPr>
              <a:t>– It </a:t>
            </a:r>
            <a:r>
              <a:rPr sz="2400" spc="-7" dirty="0">
                <a:solidFill>
                  <a:srgbClr val="4D4E5C"/>
                </a:solidFill>
                <a:latin typeface="Arial"/>
                <a:cs typeface="Arial"/>
              </a:rPr>
              <a:t>performs </a:t>
            </a:r>
            <a:r>
              <a:rPr sz="2400" dirty="0">
                <a:solidFill>
                  <a:srgbClr val="4D4E5C"/>
                </a:solidFill>
                <a:latin typeface="Arial"/>
                <a:cs typeface="Arial"/>
              </a:rPr>
              <a:t>checks </a:t>
            </a:r>
            <a:r>
              <a:rPr sz="2400" spc="-13" dirty="0">
                <a:solidFill>
                  <a:srgbClr val="4D4E5C"/>
                </a:solidFill>
                <a:latin typeface="Arial"/>
                <a:cs typeface="Arial"/>
              </a:rPr>
              <a:t>whether </a:t>
            </a:r>
            <a:r>
              <a:rPr sz="2400" dirty="0">
                <a:solidFill>
                  <a:srgbClr val="4D4E5C"/>
                </a:solidFill>
                <a:latin typeface="Arial"/>
                <a:cs typeface="Arial"/>
              </a:rPr>
              <a:t>the </a:t>
            </a:r>
            <a:r>
              <a:rPr sz="2400" spc="-7" dirty="0">
                <a:solidFill>
                  <a:srgbClr val="4D4E5C"/>
                </a:solidFill>
                <a:latin typeface="Arial"/>
                <a:cs typeface="Arial"/>
              </a:rPr>
              <a:t>package is</a:t>
            </a:r>
            <a:r>
              <a:rPr sz="2400" spc="87" dirty="0">
                <a:solidFill>
                  <a:srgbClr val="4D4E5C"/>
                </a:solidFill>
                <a:latin typeface="Arial"/>
                <a:cs typeface="Arial"/>
              </a:rPr>
              <a:t> </a:t>
            </a:r>
            <a:r>
              <a:rPr sz="2400" spc="-7" dirty="0">
                <a:solidFill>
                  <a:srgbClr val="4D4E5C"/>
                </a:solidFill>
                <a:latin typeface="Arial"/>
                <a:cs typeface="Arial"/>
              </a:rPr>
              <a:t>valid</a:t>
            </a:r>
            <a:endParaRPr sz="2400" dirty="0">
              <a:latin typeface="Arial"/>
              <a:cs typeface="Arial"/>
            </a:endParaRPr>
          </a:p>
          <a:p>
            <a:pPr marL="1008355" lvl="1" indent="-381837">
              <a:spcBef>
                <a:spcPts val="800"/>
              </a:spcBef>
              <a:buClr>
                <a:srgbClr val="00AFEF"/>
              </a:buClr>
              <a:buFont typeface="Wingdings"/>
              <a:buChar char=""/>
              <a:tabLst>
                <a:tab pos="1008355" algn="l"/>
                <a:tab pos="1009201" algn="l"/>
              </a:tabLst>
            </a:pPr>
            <a:r>
              <a:rPr sz="2400" spc="-7" dirty="0">
                <a:solidFill>
                  <a:srgbClr val="4D4E5C"/>
                </a:solidFill>
                <a:latin typeface="Arial"/>
                <a:cs typeface="Arial"/>
              </a:rPr>
              <a:t>install </a:t>
            </a:r>
            <a:r>
              <a:rPr sz="2400" dirty="0">
                <a:solidFill>
                  <a:srgbClr val="4D4E5C"/>
                </a:solidFill>
                <a:latin typeface="Arial"/>
                <a:cs typeface="Arial"/>
              </a:rPr>
              <a:t>– It </a:t>
            </a:r>
            <a:r>
              <a:rPr sz="2400" spc="-7" dirty="0">
                <a:solidFill>
                  <a:srgbClr val="4D4E5C"/>
                </a:solidFill>
                <a:latin typeface="Arial"/>
                <a:cs typeface="Arial"/>
              </a:rPr>
              <a:t>installs </a:t>
            </a:r>
            <a:r>
              <a:rPr sz="2400" dirty="0">
                <a:solidFill>
                  <a:srgbClr val="4D4E5C"/>
                </a:solidFill>
                <a:latin typeface="Arial"/>
                <a:cs typeface="Arial"/>
              </a:rPr>
              <a:t>the </a:t>
            </a:r>
            <a:r>
              <a:rPr sz="2400" spc="-7" dirty="0">
                <a:solidFill>
                  <a:srgbClr val="4D4E5C"/>
                </a:solidFill>
                <a:latin typeface="Arial"/>
                <a:cs typeface="Arial"/>
              </a:rPr>
              <a:t>result </a:t>
            </a:r>
            <a:r>
              <a:rPr sz="2400" dirty="0">
                <a:solidFill>
                  <a:srgbClr val="4D4E5C"/>
                </a:solidFill>
                <a:latin typeface="Arial"/>
                <a:cs typeface="Arial"/>
              </a:rPr>
              <a:t>of </a:t>
            </a:r>
            <a:r>
              <a:rPr sz="2400" spc="-7" dirty="0">
                <a:solidFill>
                  <a:srgbClr val="4D4E5C"/>
                </a:solidFill>
                <a:latin typeface="Arial"/>
                <a:cs typeface="Arial"/>
              </a:rPr>
              <a:t>package phase into local Maven</a:t>
            </a:r>
            <a:r>
              <a:rPr sz="2400" spc="113" dirty="0">
                <a:solidFill>
                  <a:srgbClr val="4D4E5C"/>
                </a:solidFill>
                <a:latin typeface="Arial"/>
                <a:cs typeface="Arial"/>
              </a:rPr>
              <a:t> </a:t>
            </a:r>
            <a:r>
              <a:rPr sz="2400" spc="-7" dirty="0">
                <a:solidFill>
                  <a:srgbClr val="4D4E5C"/>
                </a:solidFill>
                <a:latin typeface="Arial"/>
                <a:cs typeface="Arial"/>
              </a:rPr>
              <a:t>repository</a:t>
            </a:r>
            <a:endParaRPr sz="2400" dirty="0">
              <a:latin typeface="Arial"/>
              <a:cs typeface="Arial"/>
            </a:endParaRPr>
          </a:p>
          <a:p>
            <a:pPr marL="1008355" lvl="1" indent="-381837">
              <a:spcBef>
                <a:spcPts val="800"/>
              </a:spcBef>
              <a:buClr>
                <a:srgbClr val="00AFEF"/>
              </a:buClr>
              <a:buFont typeface="Wingdings"/>
              <a:buChar char=""/>
              <a:tabLst>
                <a:tab pos="1008355" algn="l"/>
                <a:tab pos="1009201" algn="l"/>
              </a:tabLst>
            </a:pPr>
            <a:r>
              <a:rPr sz="2400" spc="-13" dirty="0">
                <a:solidFill>
                  <a:srgbClr val="4D4E5C"/>
                </a:solidFill>
                <a:latin typeface="Arial"/>
                <a:cs typeface="Arial"/>
              </a:rPr>
              <a:t>deploy </a:t>
            </a:r>
            <a:r>
              <a:rPr sz="2400" dirty="0">
                <a:solidFill>
                  <a:srgbClr val="4D4E5C"/>
                </a:solidFill>
                <a:latin typeface="Arial"/>
                <a:cs typeface="Arial"/>
              </a:rPr>
              <a:t>– It </a:t>
            </a:r>
            <a:r>
              <a:rPr sz="2400" spc="-13" dirty="0">
                <a:solidFill>
                  <a:srgbClr val="4D4E5C"/>
                </a:solidFill>
                <a:latin typeface="Arial"/>
                <a:cs typeface="Arial"/>
              </a:rPr>
              <a:t>deploys </a:t>
            </a:r>
            <a:r>
              <a:rPr sz="2400" dirty="0">
                <a:solidFill>
                  <a:srgbClr val="4D4E5C"/>
                </a:solidFill>
                <a:latin typeface="Arial"/>
                <a:cs typeface="Arial"/>
              </a:rPr>
              <a:t>the </a:t>
            </a:r>
            <a:r>
              <a:rPr sz="2400" spc="-7" dirty="0">
                <a:solidFill>
                  <a:srgbClr val="4D4E5C"/>
                </a:solidFill>
                <a:latin typeface="Arial"/>
                <a:cs typeface="Arial"/>
              </a:rPr>
              <a:t>package </a:t>
            </a:r>
            <a:r>
              <a:rPr sz="2400" dirty="0">
                <a:solidFill>
                  <a:srgbClr val="4D4E5C"/>
                </a:solidFill>
                <a:latin typeface="Arial"/>
                <a:cs typeface="Arial"/>
              </a:rPr>
              <a:t>to a </a:t>
            </a:r>
            <a:r>
              <a:rPr sz="2400" spc="-7" dirty="0">
                <a:solidFill>
                  <a:srgbClr val="4D4E5C"/>
                </a:solidFill>
                <a:latin typeface="Arial"/>
                <a:cs typeface="Arial"/>
              </a:rPr>
              <a:t>local or remote</a:t>
            </a:r>
            <a:r>
              <a:rPr sz="2400" spc="93" dirty="0">
                <a:solidFill>
                  <a:srgbClr val="4D4E5C"/>
                </a:solidFill>
                <a:latin typeface="Arial"/>
                <a:cs typeface="Arial"/>
              </a:rPr>
              <a:t> </a:t>
            </a:r>
            <a:r>
              <a:rPr sz="2400" spc="-7" dirty="0">
                <a:solidFill>
                  <a:srgbClr val="4D4E5C"/>
                </a:solidFill>
                <a:latin typeface="Arial"/>
                <a:cs typeface="Arial"/>
              </a:rPr>
              <a:t>repository</a:t>
            </a:r>
            <a:endParaRPr sz="2400" dirty="0">
              <a:latin typeface="Arial"/>
              <a:cs typeface="Arial"/>
            </a:endParaRPr>
          </a:p>
        </p:txBody>
      </p:sp>
    </p:spTree>
    <p:extLst>
      <p:ext uri="{BB962C8B-B14F-4D97-AF65-F5344CB8AC3E}">
        <p14:creationId xmlns:p14="http://schemas.microsoft.com/office/powerpoint/2010/main" val="360747226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0" y="153889"/>
            <a:ext cx="12192000" cy="6124732"/>
          </a:xfrm>
          <a:prstGeom prst="rect">
            <a:avLst/>
          </a:prstGeom>
        </p:spPr>
        <p:txBody>
          <a:bodyPr vert="horz" wrap="square" lIns="0" tIns="16933" rIns="0" bIns="0" rtlCol="0">
            <a:spAutoFit/>
          </a:bodyPr>
          <a:lstStyle/>
          <a:p>
            <a:pPr marL="77045">
              <a:spcBef>
                <a:spcPts val="133"/>
              </a:spcBef>
            </a:pPr>
            <a:r>
              <a:rPr sz="2400" u="heavy" spc="-600" dirty="0">
                <a:solidFill>
                  <a:srgbClr val="0D356F"/>
                </a:solidFill>
                <a:uFill>
                  <a:solidFill>
                    <a:srgbClr val="0D356F"/>
                  </a:solidFill>
                </a:uFill>
                <a:latin typeface="Times New Roman"/>
                <a:cs typeface="Times New Roman"/>
              </a:rPr>
              <a:t> </a:t>
            </a:r>
            <a:r>
              <a:rPr lang="en-US" sz="2400" u="heavy" spc="-600" dirty="0" smtClean="0">
                <a:solidFill>
                  <a:srgbClr val="0D356F"/>
                </a:solidFill>
                <a:uFill>
                  <a:solidFill>
                    <a:srgbClr val="0D356F"/>
                  </a:solidFill>
                </a:uFill>
                <a:latin typeface="Times New Roman"/>
                <a:cs typeface="Times New Roman"/>
              </a:rPr>
              <a:t>                                                               </a:t>
            </a:r>
            <a:r>
              <a:rPr lang="en-US" sz="2800" b="1" u="heavy" spc="-13" dirty="0">
                <a:solidFill>
                  <a:srgbClr val="0D356F"/>
                </a:solidFill>
                <a:uFill>
                  <a:solidFill>
                    <a:srgbClr val="0D356F"/>
                  </a:solidFill>
                </a:uFill>
                <a:latin typeface="Arial"/>
                <a:cs typeface="Arial"/>
              </a:rPr>
              <a:t>Invoke Maven </a:t>
            </a:r>
            <a:r>
              <a:rPr lang="en-US" sz="2800" b="1" u="heavy" dirty="0">
                <a:solidFill>
                  <a:srgbClr val="0D356F"/>
                </a:solidFill>
                <a:uFill>
                  <a:solidFill>
                    <a:srgbClr val="0D356F"/>
                  </a:solidFill>
                </a:uFill>
                <a:latin typeface="Arial"/>
                <a:cs typeface="Arial"/>
              </a:rPr>
              <a:t>build by </a:t>
            </a:r>
            <a:r>
              <a:rPr lang="en-US" sz="2800" b="1" u="heavy" spc="-7" dirty="0">
                <a:solidFill>
                  <a:srgbClr val="0D356F"/>
                </a:solidFill>
                <a:uFill>
                  <a:solidFill>
                    <a:srgbClr val="0D356F"/>
                  </a:solidFill>
                </a:uFill>
                <a:latin typeface="Arial"/>
                <a:cs typeface="Arial"/>
              </a:rPr>
              <a:t>setting </a:t>
            </a:r>
            <a:r>
              <a:rPr lang="en-US" sz="2800" b="1" u="heavy" dirty="0">
                <a:solidFill>
                  <a:srgbClr val="0D356F"/>
                </a:solidFill>
                <a:uFill>
                  <a:solidFill>
                    <a:srgbClr val="0D356F"/>
                  </a:solidFill>
                </a:uFill>
                <a:latin typeface="Arial"/>
                <a:cs typeface="Arial"/>
              </a:rPr>
              <a:t>a </a:t>
            </a:r>
            <a:r>
              <a:rPr lang="en-US" sz="2800" b="1" u="heavy" spc="-7" dirty="0">
                <a:solidFill>
                  <a:srgbClr val="0D356F"/>
                </a:solidFill>
                <a:uFill>
                  <a:solidFill>
                    <a:srgbClr val="0D356F"/>
                  </a:solidFill>
                </a:uFill>
                <a:latin typeface="Arial"/>
                <a:cs typeface="Arial"/>
              </a:rPr>
              <a:t>lifecycle</a:t>
            </a:r>
            <a:r>
              <a:rPr lang="en-US" sz="2800" b="1" u="heavy" spc="80" dirty="0">
                <a:solidFill>
                  <a:srgbClr val="0D356F"/>
                </a:solidFill>
                <a:uFill>
                  <a:solidFill>
                    <a:srgbClr val="0D356F"/>
                  </a:solidFill>
                </a:uFill>
                <a:latin typeface="Arial"/>
                <a:cs typeface="Arial"/>
              </a:rPr>
              <a:t> </a:t>
            </a:r>
            <a:r>
              <a:rPr lang="en-US" sz="2800" b="1" u="heavy" dirty="0">
                <a:solidFill>
                  <a:srgbClr val="0D356F"/>
                </a:solidFill>
                <a:uFill>
                  <a:solidFill>
                    <a:srgbClr val="0D356F"/>
                  </a:solidFill>
                </a:uFill>
                <a:latin typeface="Arial"/>
                <a:cs typeface="Arial"/>
              </a:rPr>
              <a:t>“goal”</a:t>
            </a:r>
            <a:endParaRPr lang="en-US" sz="2800" dirty="0">
              <a:latin typeface="Arial"/>
              <a:cs typeface="Arial"/>
            </a:endParaRPr>
          </a:p>
          <a:p>
            <a:pPr marL="16933">
              <a:spcBef>
                <a:spcPts val="7"/>
              </a:spcBef>
              <a:buClr>
                <a:srgbClr val="00AFEF"/>
              </a:buClr>
              <a:tabLst>
                <a:tab pos="325959" algn="l"/>
              </a:tabLst>
            </a:pPr>
            <a:endParaRPr lang="en-US" sz="2533" spc="-7" dirty="0" smtClean="0">
              <a:solidFill>
                <a:srgbClr val="4D4E5C"/>
              </a:solidFill>
              <a:latin typeface="Arial"/>
              <a:cs typeface="Arial"/>
            </a:endParaRPr>
          </a:p>
          <a:p>
            <a:pPr marL="325112" indent="-308179">
              <a:spcBef>
                <a:spcPts val="7"/>
              </a:spcBef>
              <a:buClr>
                <a:srgbClr val="00AFEF"/>
              </a:buClr>
              <a:buFont typeface="Wingdings"/>
              <a:buChar char=""/>
              <a:tabLst>
                <a:tab pos="325959" algn="l"/>
              </a:tabLst>
            </a:pPr>
            <a:r>
              <a:rPr sz="2533" spc="-7" dirty="0" err="1" smtClean="0">
                <a:solidFill>
                  <a:srgbClr val="4D4E5C"/>
                </a:solidFill>
                <a:latin typeface="Arial"/>
                <a:cs typeface="Arial"/>
              </a:rPr>
              <a:t>mvn</a:t>
            </a:r>
            <a:r>
              <a:rPr sz="2533" spc="-7" dirty="0" smtClean="0">
                <a:solidFill>
                  <a:srgbClr val="4D4E5C"/>
                </a:solidFill>
                <a:latin typeface="Arial"/>
                <a:cs typeface="Arial"/>
              </a:rPr>
              <a:t> </a:t>
            </a:r>
            <a:r>
              <a:rPr sz="2533" spc="-7" dirty="0">
                <a:solidFill>
                  <a:srgbClr val="4D4E5C"/>
                </a:solidFill>
                <a:latin typeface="Arial"/>
                <a:cs typeface="Arial"/>
              </a:rPr>
              <a:t>install: triggers generate*, compile, test, package, </a:t>
            </a:r>
            <a:r>
              <a:rPr sz="2533" dirty="0">
                <a:solidFill>
                  <a:srgbClr val="4D4E5C"/>
                </a:solidFill>
                <a:latin typeface="Arial"/>
                <a:cs typeface="Arial"/>
              </a:rPr>
              <a:t>integration-test,</a:t>
            </a:r>
            <a:r>
              <a:rPr sz="2533" spc="413" dirty="0">
                <a:solidFill>
                  <a:srgbClr val="4D4E5C"/>
                </a:solidFill>
                <a:latin typeface="Arial"/>
                <a:cs typeface="Arial"/>
              </a:rPr>
              <a:t> </a:t>
            </a:r>
            <a:r>
              <a:rPr sz="2533" spc="-7" dirty="0">
                <a:solidFill>
                  <a:srgbClr val="4D4E5C"/>
                </a:solidFill>
                <a:latin typeface="Arial"/>
                <a:cs typeface="Arial"/>
              </a:rPr>
              <a:t>install</a:t>
            </a:r>
            <a:endParaRPr sz="2533" dirty="0">
              <a:latin typeface="Arial"/>
              <a:cs typeface="Arial"/>
            </a:endParaRPr>
          </a:p>
          <a:p>
            <a:pPr marL="325112" indent="-308179">
              <a:spcBef>
                <a:spcPts val="187"/>
              </a:spcBef>
              <a:buClr>
                <a:srgbClr val="00AFEF"/>
              </a:buClr>
              <a:buFont typeface="Wingdings"/>
              <a:buChar char=""/>
              <a:tabLst>
                <a:tab pos="325959" algn="l"/>
              </a:tabLst>
            </a:pPr>
            <a:r>
              <a:rPr sz="2533" spc="-7" dirty="0">
                <a:solidFill>
                  <a:srgbClr val="4D4E5C"/>
                </a:solidFill>
                <a:latin typeface="Arial"/>
                <a:cs typeface="Arial"/>
              </a:rPr>
              <a:t>mvn clean: Clean old builds from project</a:t>
            </a:r>
            <a:r>
              <a:rPr sz="2533" spc="180" dirty="0">
                <a:solidFill>
                  <a:srgbClr val="4D4E5C"/>
                </a:solidFill>
                <a:latin typeface="Arial"/>
                <a:cs typeface="Arial"/>
              </a:rPr>
              <a:t> </a:t>
            </a:r>
            <a:r>
              <a:rPr sz="2533" spc="-7" dirty="0">
                <a:solidFill>
                  <a:srgbClr val="4D4E5C"/>
                </a:solidFill>
                <a:latin typeface="Arial"/>
                <a:cs typeface="Arial"/>
              </a:rPr>
              <a:t>folder</a:t>
            </a:r>
            <a:endParaRPr sz="2533" dirty="0">
              <a:latin typeface="Arial"/>
              <a:cs typeface="Arial"/>
            </a:endParaRPr>
          </a:p>
          <a:p>
            <a:pPr marL="325112" indent="-308179">
              <a:spcBef>
                <a:spcPts val="200"/>
              </a:spcBef>
              <a:buClr>
                <a:srgbClr val="00AFEF"/>
              </a:buClr>
              <a:buFont typeface="Wingdings"/>
              <a:buChar char=""/>
              <a:tabLst>
                <a:tab pos="325959" algn="l"/>
              </a:tabLst>
            </a:pPr>
            <a:r>
              <a:rPr sz="2533" spc="-7" dirty="0">
                <a:solidFill>
                  <a:srgbClr val="4D4E5C"/>
                </a:solidFill>
                <a:latin typeface="Arial"/>
                <a:cs typeface="Arial"/>
              </a:rPr>
              <a:t>mvn clean compile: Cleans old builds &amp; then executes generate*,</a:t>
            </a:r>
            <a:r>
              <a:rPr sz="2533" spc="400" dirty="0">
                <a:solidFill>
                  <a:srgbClr val="4D4E5C"/>
                </a:solidFill>
                <a:latin typeface="Arial"/>
                <a:cs typeface="Arial"/>
              </a:rPr>
              <a:t> </a:t>
            </a:r>
            <a:r>
              <a:rPr sz="2533" spc="-7" dirty="0">
                <a:solidFill>
                  <a:srgbClr val="4D4E5C"/>
                </a:solidFill>
                <a:latin typeface="Arial"/>
                <a:cs typeface="Arial"/>
              </a:rPr>
              <a:t>compile</a:t>
            </a:r>
            <a:endParaRPr sz="2533" dirty="0">
              <a:latin typeface="Arial"/>
              <a:cs typeface="Arial"/>
            </a:endParaRPr>
          </a:p>
          <a:p>
            <a:pPr marL="325112" marR="1173451" indent="-308179">
              <a:lnSpc>
                <a:spcPct val="80000"/>
              </a:lnSpc>
              <a:spcBef>
                <a:spcPts val="800"/>
              </a:spcBef>
              <a:buClr>
                <a:srgbClr val="00AFEF"/>
              </a:buClr>
              <a:buFont typeface="Wingdings"/>
              <a:buChar char=""/>
              <a:tabLst>
                <a:tab pos="325959" algn="l"/>
              </a:tabLst>
            </a:pPr>
            <a:r>
              <a:rPr sz="2533" spc="-7" dirty="0">
                <a:solidFill>
                  <a:srgbClr val="4D4E5C"/>
                </a:solidFill>
                <a:latin typeface="Arial"/>
                <a:cs typeface="Arial"/>
              </a:rPr>
              <a:t>mvn compile install: triggers generate*, compile, test, </a:t>
            </a:r>
            <a:r>
              <a:rPr sz="2533" dirty="0">
                <a:solidFill>
                  <a:srgbClr val="4D4E5C"/>
                </a:solidFill>
                <a:latin typeface="Arial"/>
                <a:cs typeface="Arial"/>
              </a:rPr>
              <a:t>integration-test,  </a:t>
            </a:r>
            <a:r>
              <a:rPr sz="2533" spc="-7" dirty="0">
                <a:solidFill>
                  <a:srgbClr val="4D4E5C"/>
                </a:solidFill>
                <a:latin typeface="Arial"/>
                <a:cs typeface="Arial"/>
              </a:rPr>
              <a:t>package, install in that</a:t>
            </a:r>
            <a:r>
              <a:rPr sz="2533" spc="93" dirty="0">
                <a:solidFill>
                  <a:srgbClr val="4D4E5C"/>
                </a:solidFill>
                <a:latin typeface="Arial"/>
                <a:cs typeface="Arial"/>
              </a:rPr>
              <a:t> </a:t>
            </a:r>
            <a:r>
              <a:rPr sz="2533" spc="-7" dirty="0">
                <a:solidFill>
                  <a:srgbClr val="4D4E5C"/>
                </a:solidFill>
                <a:latin typeface="Arial"/>
                <a:cs typeface="Arial"/>
              </a:rPr>
              <a:t>sequence</a:t>
            </a:r>
            <a:endParaRPr sz="2533" dirty="0">
              <a:latin typeface="Arial"/>
              <a:cs typeface="Arial"/>
            </a:endParaRPr>
          </a:p>
          <a:p>
            <a:pPr marL="325112" indent="-308179">
              <a:spcBef>
                <a:spcPts val="193"/>
              </a:spcBef>
              <a:buClr>
                <a:srgbClr val="00AFEF"/>
              </a:buClr>
              <a:buFont typeface="Wingdings"/>
              <a:buChar char=""/>
              <a:tabLst>
                <a:tab pos="325959" algn="l"/>
              </a:tabLst>
            </a:pPr>
            <a:r>
              <a:rPr sz="2533" spc="-7" dirty="0">
                <a:solidFill>
                  <a:srgbClr val="4D4E5C"/>
                </a:solidFill>
                <a:latin typeface="Arial"/>
                <a:cs typeface="Arial"/>
              </a:rPr>
              <a:t>mvn test clean: triggers generate*, compile, test and then</a:t>
            </a:r>
            <a:r>
              <a:rPr sz="2533" spc="247" dirty="0">
                <a:solidFill>
                  <a:srgbClr val="4D4E5C"/>
                </a:solidFill>
                <a:latin typeface="Arial"/>
                <a:cs typeface="Arial"/>
              </a:rPr>
              <a:t> </a:t>
            </a:r>
            <a:r>
              <a:rPr sz="2533" spc="-7" dirty="0">
                <a:solidFill>
                  <a:srgbClr val="4D4E5C"/>
                </a:solidFill>
                <a:latin typeface="Arial"/>
                <a:cs typeface="Arial"/>
              </a:rPr>
              <a:t>cleans</a:t>
            </a:r>
            <a:endParaRPr sz="2533" dirty="0">
              <a:latin typeface="Arial"/>
              <a:cs typeface="Arial"/>
            </a:endParaRPr>
          </a:p>
          <a:p>
            <a:pPr>
              <a:spcBef>
                <a:spcPts val="47"/>
              </a:spcBef>
            </a:pPr>
            <a:endParaRPr sz="2933" dirty="0">
              <a:latin typeface="Times New Roman"/>
              <a:cs typeface="Times New Roman"/>
            </a:endParaRPr>
          </a:p>
          <a:p>
            <a:pPr marL="16933">
              <a:lnSpc>
                <a:spcPts val="2733"/>
              </a:lnSpc>
              <a:spcBef>
                <a:spcPts val="7"/>
              </a:spcBef>
            </a:pPr>
            <a:r>
              <a:rPr sz="2533" spc="-7" dirty="0">
                <a:solidFill>
                  <a:srgbClr val="4D4E5C"/>
                </a:solidFill>
                <a:latin typeface="Arial"/>
                <a:cs typeface="Arial"/>
              </a:rPr>
              <a:t>For a complete list of the Maven phases</a:t>
            </a:r>
            <a:r>
              <a:rPr sz="2533" spc="147" dirty="0">
                <a:solidFill>
                  <a:srgbClr val="4D4E5C"/>
                </a:solidFill>
                <a:latin typeface="Arial"/>
                <a:cs typeface="Arial"/>
              </a:rPr>
              <a:t> </a:t>
            </a:r>
            <a:r>
              <a:rPr sz="2533" spc="-7" dirty="0">
                <a:solidFill>
                  <a:srgbClr val="4D4E5C"/>
                </a:solidFill>
                <a:latin typeface="Arial"/>
                <a:cs typeface="Arial"/>
              </a:rPr>
              <a:t>see</a:t>
            </a:r>
            <a:endParaRPr sz="2533" dirty="0">
              <a:latin typeface="Arial"/>
              <a:cs typeface="Arial"/>
            </a:endParaRPr>
          </a:p>
          <a:p>
            <a:pPr marL="16933">
              <a:lnSpc>
                <a:spcPts val="2733"/>
              </a:lnSpc>
            </a:pPr>
            <a:r>
              <a:rPr sz="2533" u="heavy" dirty="0">
                <a:solidFill>
                  <a:srgbClr val="1E1E23"/>
                </a:solidFill>
                <a:uFill>
                  <a:solidFill>
                    <a:srgbClr val="1E1E23"/>
                  </a:solidFill>
                </a:uFill>
                <a:latin typeface="Arial"/>
                <a:cs typeface="Arial"/>
                <a:hlinkClick r:id="rId2"/>
              </a:rPr>
              <a:t>http://maven.apache.org/guides/introduction/introduction-to-the-lifecycle.html</a:t>
            </a:r>
            <a:endParaRPr sz="2533" dirty="0">
              <a:latin typeface="Arial"/>
              <a:cs typeface="Arial"/>
            </a:endParaRPr>
          </a:p>
          <a:p>
            <a:pPr>
              <a:spcBef>
                <a:spcPts val="47"/>
              </a:spcBef>
            </a:pPr>
            <a:endParaRPr sz="3467" dirty="0">
              <a:latin typeface="Times New Roman"/>
              <a:cs typeface="Times New Roman"/>
            </a:endParaRPr>
          </a:p>
          <a:p>
            <a:pPr marL="16933" marR="6773">
              <a:lnSpc>
                <a:spcPct val="80000"/>
              </a:lnSpc>
            </a:pPr>
            <a:r>
              <a:rPr sz="2533" spc="-7" dirty="0">
                <a:solidFill>
                  <a:srgbClr val="4D4E5C"/>
                </a:solidFill>
                <a:latin typeface="Arial"/>
                <a:cs typeface="Arial"/>
              </a:rPr>
              <a:t>If you instruct Maven to execute a phase, it executes all previous phases in the  pre-defined sequence until it has executed the defined phase. All relevant goals  are executed during this process. A goal is relevant for a phase if the Maven  plug-in or the pom binds this goal to the corresponding life cycle</a:t>
            </a:r>
            <a:r>
              <a:rPr sz="2533" spc="393" dirty="0">
                <a:solidFill>
                  <a:srgbClr val="4D4E5C"/>
                </a:solidFill>
                <a:latin typeface="Arial"/>
                <a:cs typeface="Arial"/>
              </a:rPr>
              <a:t> </a:t>
            </a:r>
            <a:r>
              <a:rPr sz="2533" spc="-7" dirty="0">
                <a:solidFill>
                  <a:srgbClr val="4D4E5C"/>
                </a:solidFill>
                <a:latin typeface="Arial"/>
                <a:cs typeface="Arial"/>
              </a:rPr>
              <a:t>phase.</a:t>
            </a:r>
            <a:endParaRPr sz="2533" dirty="0">
              <a:latin typeface="Arial"/>
              <a:cs typeface="Arial"/>
            </a:endParaRPr>
          </a:p>
        </p:txBody>
      </p:sp>
    </p:spTree>
    <p:extLst>
      <p:ext uri="{BB962C8B-B14F-4D97-AF65-F5344CB8AC3E}">
        <p14:creationId xmlns:p14="http://schemas.microsoft.com/office/powerpoint/2010/main" val="333704477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284208" y="178478"/>
            <a:ext cx="11507893" cy="4421189"/>
          </a:xfrm>
          <a:prstGeom prst="rect">
            <a:avLst/>
          </a:prstGeom>
        </p:spPr>
        <p:txBody>
          <a:bodyPr vert="horz" wrap="square" lIns="0" tIns="16933" rIns="0" bIns="0" rtlCol="0">
            <a:spAutoFit/>
          </a:bodyPr>
          <a:lstStyle/>
          <a:p>
            <a:pPr marL="77890">
              <a:spcBef>
                <a:spcPts val="133"/>
              </a:spcBef>
            </a:pPr>
            <a:r>
              <a:rPr lang="en-US" sz="2400" spc="-13" dirty="0" smtClean="0">
                <a:solidFill>
                  <a:srgbClr val="0D356F"/>
                </a:solidFill>
                <a:uFill>
                  <a:solidFill>
                    <a:srgbClr val="0D356F"/>
                  </a:solidFill>
                </a:uFill>
                <a:latin typeface="Arial"/>
                <a:cs typeface="Arial"/>
              </a:rPr>
              <a:t>           </a:t>
            </a:r>
            <a:r>
              <a:rPr sz="2400" b="1" u="heavy" spc="-13" dirty="0" smtClean="0">
                <a:solidFill>
                  <a:srgbClr val="0D356F"/>
                </a:solidFill>
                <a:uFill>
                  <a:solidFill>
                    <a:srgbClr val="0D356F"/>
                  </a:solidFill>
                </a:uFill>
                <a:latin typeface="Arial"/>
                <a:cs typeface="Arial"/>
              </a:rPr>
              <a:t>Maven </a:t>
            </a:r>
            <a:r>
              <a:rPr sz="2400" b="1" u="heavy" spc="-7" dirty="0">
                <a:solidFill>
                  <a:srgbClr val="0D356F"/>
                </a:solidFill>
                <a:uFill>
                  <a:solidFill>
                    <a:srgbClr val="0D356F"/>
                  </a:solidFill>
                </a:uFill>
                <a:latin typeface="Arial"/>
                <a:cs typeface="Arial"/>
              </a:rPr>
              <a:t>lifecycle </a:t>
            </a:r>
            <a:r>
              <a:rPr sz="2400" b="1" u="heavy" dirty="0">
                <a:solidFill>
                  <a:srgbClr val="0D356F"/>
                </a:solidFill>
                <a:uFill>
                  <a:solidFill>
                    <a:srgbClr val="0D356F"/>
                  </a:solidFill>
                </a:uFill>
                <a:latin typeface="Arial"/>
                <a:cs typeface="Arial"/>
              </a:rPr>
              <a:t>is </a:t>
            </a:r>
            <a:r>
              <a:rPr sz="2400" b="1" u="heavy" spc="-7" dirty="0">
                <a:solidFill>
                  <a:srgbClr val="0D356F"/>
                </a:solidFill>
                <a:uFill>
                  <a:solidFill>
                    <a:srgbClr val="0D356F"/>
                  </a:solidFill>
                </a:uFill>
                <a:latin typeface="Arial"/>
                <a:cs typeface="Arial"/>
              </a:rPr>
              <a:t>a </a:t>
            </a:r>
            <a:r>
              <a:rPr sz="2400" b="1" u="heavy" dirty="0">
                <a:solidFill>
                  <a:srgbClr val="0D356F"/>
                </a:solidFill>
                <a:uFill>
                  <a:solidFill>
                    <a:srgbClr val="0D356F"/>
                  </a:solidFill>
                </a:uFill>
                <a:latin typeface="Arial"/>
                <a:cs typeface="Arial"/>
              </a:rPr>
              <a:t>combination of </a:t>
            </a:r>
            <a:r>
              <a:rPr sz="2400" b="1" u="heavy" spc="-7" dirty="0">
                <a:solidFill>
                  <a:srgbClr val="0D356F"/>
                </a:solidFill>
                <a:uFill>
                  <a:solidFill>
                    <a:srgbClr val="0D356F"/>
                  </a:solidFill>
                </a:uFill>
                <a:latin typeface="Arial"/>
                <a:cs typeface="Arial"/>
              </a:rPr>
              <a:t>phases </a:t>
            </a:r>
            <a:r>
              <a:rPr sz="2400" b="1" u="heavy" dirty="0">
                <a:solidFill>
                  <a:srgbClr val="0D356F"/>
                </a:solidFill>
                <a:uFill>
                  <a:solidFill>
                    <a:srgbClr val="0D356F"/>
                  </a:solidFill>
                </a:uFill>
                <a:latin typeface="Arial"/>
                <a:cs typeface="Arial"/>
              </a:rPr>
              <a:t>(one or</a:t>
            </a:r>
            <a:r>
              <a:rPr sz="2400" b="1" u="heavy" spc="13" dirty="0">
                <a:solidFill>
                  <a:srgbClr val="0D356F"/>
                </a:solidFill>
                <a:uFill>
                  <a:solidFill>
                    <a:srgbClr val="0D356F"/>
                  </a:solidFill>
                </a:uFill>
                <a:latin typeface="Arial"/>
                <a:cs typeface="Arial"/>
              </a:rPr>
              <a:t> </a:t>
            </a:r>
            <a:r>
              <a:rPr sz="2400" b="1" u="heavy" spc="-7" dirty="0">
                <a:solidFill>
                  <a:srgbClr val="0D356F"/>
                </a:solidFill>
                <a:uFill>
                  <a:solidFill>
                    <a:srgbClr val="0D356F"/>
                  </a:solidFill>
                </a:uFill>
                <a:latin typeface="Arial"/>
                <a:cs typeface="Arial"/>
              </a:rPr>
              <a:t>more)</a:t>
            </a:r>
            <a:endParaRPr sz="2400" dirty="0">
              <a:latin typeface="Arial"/>
              <a:cs typeface="Arial"/>
            </a:endParaRPr>
          </a:p>
          <a:p>
            <a:pPr>
              <a:spcBef>
                <a:spcPts val="20"/>
              </a:spcBef>
            </a:pPr>
            <a:endParaRPr sz="3067" dirty="0">
              <a:latin typeface="Times New Roman"/>
              <a:cs typeface="Times New Roman"/>
            </a:endParaRPr>
          </a:p>
          <a:p>
            <a:pPr marL="325112" indent="-308179">
              <a:buClr>
                <a:srgbClr val="00AFEF"/>
              </a:buClr>
              <a:buFont typeface="Wingdings"/>
              <a:buChar char=""/>
              <a:tabLst>
                <a:tab pos="325959" algn="l"/>
              </a:tabLst>
            </a:pPr>
            <a:r>
              <a:rPr sz="2667" dirty="0">
                <a:solidFill>
                  <a:srgbClr val="4D4E5C"/>
                </a:solidFill>
                <a:latin typeface="Arial"/>
                <a:cs typeface="Arial"/>
              </a:rPr>
              <a:t>By default, Maven knows, the following 3</a:t>
            </a:r>
            <a:r>
              <a:rPr sz="2667" spc="-207" dirty="0">
                <a:solidFill>
                  <a:srgbClr val="4D4E5C"/>
                </a:solidFill>
                <a:latin typeface="Arial"/>
                <a:cs typeface="Arial"/>
              </a:rPr>
              <a:t> </a:t>
            </a:r>
            <a:r>
              <a:rPr sz="2667" dirty="0">
                <a:solidFill>
                  <a:srgbClr val="4D4E5C"/>
                </a:solidFill>
                <a:latin typeface="Arial"/>
                <a:cs typeface="Arial"/>
              </a:rPr>
              <a:t>lifecycles:</a:t>
            </a:r>
            <a:endParaRPr sz="2667" dirty="0">
              <a:latin typeface="Arial"/>
              <a:cs typeface="Arial"/>
            </a:endParaRPr>
          </a:p>
          <a:p>
            <a:pPr marL="1008355" lvl="1" indent="-381837">
              <a:spcBef>
                <a:spcPts val="813"/>
              </a:spcBef>
              <a:buClr>
                <a:srgbClr val="00AFEF"/>
              </a:buClr>
              <a:buFont typeface="Wingdings"/>
              <a:buChar char=""/>
              <a:tabLst>
                <a:tab pos="1008355" algn="l"/>
                <a:tab pos="1009201" algn="l"/>
              </a:tabLst>
            </a:pPr>
            <a:r>
              <a:rPr sz="2400" spc="-7" dirty="0">
                <a:solidFill>
                  <a:srgbClr val="4D4E5C"/>
                </a:solidFill>
                <a:latin typeface="Arial"/>
                <a:cs typeface="Arial"/>
              </a:rPr>
              <a:t>Default: </a:t>
            </a:r>
            <a:r>
              <a:rPr sz="2400" dirty="0">
                <a:solidFill>
                  <a:srgbClr val="4D4E5C"/>
                </a:solidFill>
                <a:latin typeface="Arial"/>
                <a:cs typeface="Arial"/>
              </a:rPr>
              <a:t>It Is </a:t>
            </a:r>
            <a:r>
              <a:rPr sz="2400" spc="-7" dirty="0">
                <a:solidFill>
                  <a:srgbClr val="4D4E5C"/>
                </a:solidFill>
                <a:latin typeface="Arial"/>
                <a:cs typeface="Arial"/>
              </a:rPr>
              <a:t>used </a:t>
            </a:r>
            <a:r>
              <a:rPr sz="2400" dirty="0">
                <a:solidFill>
                  <a:srgbClr val="4D4E5C"/>
                </a:solidFill>
                <a:latin typeface="Arial"/>
                <a:cs typeface="Arial"/>
              </a:rPr>
              <a:t>for most </a:t>
            </a:r>
            <a:r>
              <a:rPr sz="2400" spc="-7" dirty="0">
                <a:solidFill>
                  <a:srgbClr val="4D4E5C"/>
                </a:solidFill>
                <a:latin typeface="Arial"/>
                <a:cs typeface="Arial"/>
              </a:rPr>
              <a:t>activities on artifacts like performing a</a:t>
            </a:r>
            <a:r>
              <a:rPr sz="2400" spc="127" dirty="0">
                <a:solidFill>
                  <a:srgbClr val="4D4E5C"/>
                </a:solidFill>
                <a:latin typeface="Arial"/>
                <a:cs typeface="Arial"/>
              </a:rPr>
              <a:t> </a:t>
            </a:r>
            <a:r>
              <a:rPr sz="2400" spc="-13" dirty="0">
                <a:solidFill>
                  <a:srgbClr val="4D4E5C"/>
                </a:solidFill>
                <a:latin typeface="Arial"/>
                <a:cs typeface="Arial"/>
              </a:rPr>
              <a:t>build.</a:t>
            </a:r>
            <a:endParaRPr sz="2400" dirty="0">
              <a:latin typeface="Arial"/>
              <a:cs typeface="Arial"/>
            </a:endParaRPr>
          </a:p>
          <a:p>
            <a:pPr marL="1008355" lvl="1" indent="-381837">
              <a:spcBef>
                <a:spcPts val="800"/>
              </a:spcBef>
              <a:buClr>
                <a:srgbClr val="00AFEF"/>
              </a:buClr>
              <a:buFont typeface="Wingdings"/>
              <a:buChar char=""/>
              <a:tabLst>
                <a:tab pos="1008355" algn="l"/>
                <a:tab pos="1009201" algn="l"/>
              </a:tabLst>
            </a:pPr>
            <a:r>
              <a:rPr sz="2400" spc="-7" dirty="0">
                <a:solidFill>
                  <a:srgbClr val="4D4E5C"/>
                </a:solidFill>
                <a:latin typeface="Arial"/>
                <a:cs typeface="Arial"/>
              </a:rPr>
              <a:t>Clean: </a:t>
            </a:r>
            <a:r>
              <a:rPr sz="2400" dirty="0">
                <a:solidFill>
                  <a:srgbClr val="4D4E5C"/>
                </a:solidFill>
                <a:latin typeface="Arial"/>
                <a:cs typeface="Arial"/>
              </a:rPr>
              <a:t>It Is </a:t>
            </a:r>
            <a:r>
              <a:rPr sz="2400" spc="-7" dirty="0">
                <a:solidFill>
                  <a:srgbClr val="4D4E5C"/>
                </a:solidFill>
                <a:latin typeface="Arial"/>
                <a:cs typeface="Arial"/>
              </a:rPr>
              <a:t>used </a:t>
            </a:r>
            <a:r>
              <a:rPr sz="2400" dirty="0">
                <a:solidFill>
                  <a:srgbClr val="4D4E5C"/>
                </a:solidFill>
                <a:latin typeface="Arial"/>
                <a:cs typeface="Arial"/>
              </a:rPr>
              <a:t>to </a:t>
            </a:r>
            <a:r>
              <a:rPr sz="2400" spc="-7" dirty="0">
                <a:solidFill>
                  <a:srgbClr val="4D4E5C"/>
                </a:solidFill>
                <a:latin typeface="Arial"/>
                <a:cs typeface="Arial"/>
              </a:rPr>
              <a:t>delete generated</a:t>
            </a:r>
            <a:r>
              <a:rPr sz="2400" spc="47" dirty="0">
                <a:solidFill>
                  <a:srgbClr val="4D4E5C"/>
                </a:solidFill>
                <a:latin typeface="Arial"/>
                <a:cs typeface="Arial"/>
              </a:rPr>
              <a:t> </a:t>
            </a:r>
            <a:r>
              <a:rPr sz="2400" spc="-7" dirty="0">
                <a:solidFill>
                  <a:srgbClr val="4D4E5C"/>
                </a:solidFill>
                <a:latin typeface="Arial"/>
                <a:cs typeface="Arial"/>
              </a:rPr>
              <a:t>parts</a:t>
            </a:r>
            <a:endParaRPr sz="2400" dirty="0">
              <a:latin typeface="Arial"/>
              <a:cs typeface="Arial"/>
            </a:endParaRPr>
          </a:p>
          <a:p>
            <a:pPr marL="1008355" lvl="1" indent="-381837">
              <a:spcBef>
                <a:spcPts val="800"/>
              </a:spcBef>
              <a:buClr>
                <a:srgbClr val="00AFEF"/>
              </a:buClr>
              <a:buFont typeface="Wingdings"/>
              <a:buChar char=""/>
              <a:tabLst>
                <a:tab pos="1008355" algn="l"/>
                <a:tab pos="1009201" algn="l"/>
              </a:tabLst>
            </a:pPr>
            <a:r>
              <a:rPr sz="2400" spc="-7" dirty="0">
                <a:solidFill>
                  <a:srgbClr val="4D4E5C"/>
                </a:solidFill>
                <a:latin typeface="Arial"/>
                <a:cs typeface="Arial"/>
              </a:rPr>
              <a:t>Site: </a:t>
            </a:r>
            <a:r>
              <a:rPr sz="2400" dirty="0">
                <a:solidFill>
                  <a:srgbClr val="4D4E5C"/>
                </a:solidFill>
                <a:latin typeface="Arial"/>
                <a:cs typeface="Arial"/>
              </a:rPr>
              <a:t>It Is </a:t>
            </a:r>
            <a:r>
              <a:rPr sz="2400" spc="-7" dirty="0">
                <a:solidFill>
                  <a:srgbClr val="4D4E5C"/>
                </a:solidFill>
                <a:latin typeface="Arial"/>
                <a:cs typeface="Arial"/>
              </a:rPr>
              <a:t>used </a:t>
            </a:r>
            <a:r>
              <a:rPr sz="2400" dirty="0">
                <a:solidFill>
                  <a:srgbClr val="4D4E5C"/>
                </a:solidFill>
                <a:latin typeface="Arial"/>
                <a:cs typeface="Arial"/>
              </a:rPr>
              <a:t>to </a:t>
            </a:r>
            <a:r>
              <a:rPr sz="2400" spc="-7" dirty="0">
                <a:solidFill>
                  <a:srgbClr val="4D4E5C"/>
                </a:solidFill>
                <a:latin typeface="Arial"/>
                <a:cs typeface="Arial"/>
              </a:rPr>
              <a:t>generate a </a:t>
            </a:r>
            <a:r>
              <a:rPr sz="2400" spc="-13" dirty="0">
                <a:solidFill>
                  <a:srgbClr val="4D4E5C"/>
                </a:solidFill>
                <a:latin typeface="Arial"/>
                <a:cs typeface="Arial"/>
              </a:rPr>
              <a:t>website </a:t>
            </a:r>
            <a:r>
              <a:rPr sz="2400" dirty="0">
                <a:solidFill>
                  <a:srgbClr val="4D4E5C"/>
                </a:solidFill>
                <a:latin typeface="Arial"/>
                <a:cs typeface="Arial"/>
              </a:rPr>
              <a:t>for the </a:t>
            </a:r>
            <a:r>
              <a:rPr sz="2400" spc="-7" dirty="0">
                <a:solidFill>
                  <a:srgbClr val="4D4E5C"/>
                </a:solidFill>
                <a:latin typeface="Arial"/>
                <a:cs typeface="Arial"/>
              </a:rPr>
              <a:t>current</a:t>
            </a:r>
            <a:r>
              <a:rPr sz="2400" spc="113" dirty="0">
                <a:solidFill>
                  <a:srgbClr val="4D4E5C"/>
                </a:solidFill>
                <a:latin typeface="Arial"/>
                <a:cs typeface="Arial"/>
              </a:rPr>
              <a:t> </a:t>
            </a:r>
            <a:r>
              <a:rPr sz="2400" spc="-7" dirty="0">
                <a:solidFill>
                  <a:srgbClr val="4D4E5C"/>
                </a:solidFill>
                <a:latin typeface="Arial"/>
                <a:cs typeface="Arial"/>
              </a:rPr>
              <a:t>artifact</a:t>
            </a:r>
            <a:endParaRPr sz="2400" dirty="0">
              <a:latin typeface="Arial"/>
              <a:cs typeface="Arial"/>
            </a:endParaRPr>
          </a:p>
          <a:p>
            <a:pPr lvl="1">
              <a:spcBef>
                <a:spcPts val="73"/>
              </a:spcBef>
              <a:buClr>
                <a:srgbClr val="00AFEF"/>
              </a:buClr>
              <a:buFont typeface="Wingdings"/>
              <a:buChar char=""/>
            </a:pPr>
            <a:endParaRPr sz="3200" dirty="0">
              <a:latin typeface="Times New Roman"/>
              <a:cs typeface="Times New Roman"/>
            </a:endParaRPr>
          </a:p>
          <a:p>
            <a:pPr marL="325112" marR="6773" indent="-308179">
              <a:buClr>
                <a:srgbClr val="00AFEF"/>
              </a:buClr>
              <a:buFont typeface="Wingdings"/>
              <a:buChar char=""/>
              <a:tabLst>
                <a:tab pos="325959" algn="l"/>
              </a:tabLst>
            </a:pPr>
            <a:r>
              <a:rPr sz="2667" dirty="0">
                <a:solidFill>
                  <a:srgbClr val="4D4E5C"/>
                </a:solidFill>
                <a:latin typeface="Arial"/>
                <a:cs typeface="Arial"/>
              </a:rPr>
              <a:t>A maven lifecycle has one or more phases &amp; the goal(s) can be mapped</a:t>
            </a:r>
            <a:r>
              <a:rPr sz="2667" spc="-473" dirty="0">
                <a:solidFill>
                  <a:srgbClr val="4D4E5C"/>
                </a:solidFill>
                <a:latin typeface="Arial"/>
                <a:cs typeface="Arial"/>
              </a:rPr>
              <a:t> </a:t>
            </a:r>
            <a:r>
              <a:rPr sz="2667" dirty="0">
                <a:solidFill>
                  <a:srgbClr val="4D4E5C"/>
                </a:solidFill>
                <a:latin typeface="Arial"/>
                <a:cs typeface="Arial"/>
              </a:rPr>
              <a:t>to  a phase. When the phases of the lifecycle start, few pre-defined plugin-  goals automatically gets</a:t>
            </a:r>
            <a:r>
              <a:rPr sz="2667" spc="-93" dirty="0">
                <a:solidFill>
                  <a:srgbClr val="4D4E5C"/>
                </a:solidFill>
                <a:latin typeface="Arial"/>
                <a:cs typeface="Arial"/>
              </a:rPr>
              <a:t> </a:t>
            </a:r>
            <a:r>
              <a:rPr sz="2667" dirty="0">
                <a:solidFill>
                  <a:srgbClr val="4D4E5C"/>
                </a:solidFill>
                <a:latin typeface="Arial"/>
                <a:cs typeface="Arial"/>
              </a:rPr>
              <a:t>executed</a:t>
            </a:r>
            <a:endParaRPr sz="2667" dirty="0">
              <a:latin typeface="Arial"/>
              <a:cs typeface="Arial"/>
            </a:endParaRPr>
          </a:p>
        </p:txBody>
      </p:sp>
    </p:spTree>
    <p:extLst>
      <p:ext uri="{BB962C8B-B14F-4D97-AF65-F5344CB8AC3E}">
        <p14:creationId xmlns:p14="http://schemas.microsoft.com/office/powerpoint/2010/main" val="178849441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2058693" y="1113537"/>
            <a:ext cx="8233107" cy="5137319"/>
          </a:xfrm>
          <a:prstGeom prst="rect">
            <a:avLst/>
          </a:prstGeom>
          <a:blipFill>
            <a:blip r:embed="rId2" cstate="print"/>
            <a:stretch>
              <a:fillRect/>
            </a:stretch>
          </a:blipFill>
        </p:spPr>
        <p:txBody>
          <a:bodyPr wrap="square" lIns="0" tIns="0" rIns="0" bIns="0" rtlCol="0"/>
          <a:lstStyle/>
          <a:p>
            <a:endParaRPr/>
          </a:p>
        </p:txBody>
      </p:sp>
      <p:sp>
        <p:nvSpPr>
          <p:cNvPr id="3" name="object 3"/>
          <p:cNvSpPr txBox="1">
            <a:spLocks noGrp="1"/>
          </p:cNvSpPr>
          <p:nvPr>
            <p:ph type="title"/>
          </p:nvPr>
        </p:nvSpPr>
        <p:spPr>
          <a:prstGeom prst="rect">
            <a:avLst/>
          </a:prstGeom>
        </p:spPr>
        <p:txBody>
          <a:bodyPr vert="horz" wrap="square" lIns="0" tIns="17780" rIns="0" bIns="0" numCol="1" rtlCol="0" anchor="ctr" anchorCtr="0" compatLnSpc="1">
            <a:prstTxWarp prst="textNoShape">
              <a:avLst/>
            </a:prstTxWarp>
            <a:spAutoFit/>
          </a:bodyPr>
          <a:lstStyle/>
          <a:p>
            <a:pPr marL="16933">
              <a:spcBef>
                <a:spcPts val="140"/>
              </a:spcBef>
            </a:pPr>
            <a:r>
              <a:rPr dirty="0"/>
              <a:t>Life </a:t>
            </a:r>
            <a:r>
              <a:rPr spc="-7" dirty="0"/>
              <a:t>Cycle </a:t>
            </a:r>
            <a:r>
              <a:rPr dirty="0"/>
              <a:t>–</a:t>
            </a:r>
            <a:r>
              <a:rPr spc="-47" dirty="0"/>
              <a:t> </a:t>
            </a:r>
            <a:r>
              <a:rPr dirty="0"/>
              <a:t>“Default”</a:t>
            </a:r>
          </a:p>
        </p:txBody>
      </p:sp>
    </p:spTree>
    <p:extLst>
      <p:ext uri="{BB962C8B-B14F-4D97-AF65-F5344CB8AC3E}">
        <p14:creationId xmlns:p14="http://schemas.microsoft.com/office/powerpoint/2010/main" val="286464999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9"/>
          <p:cNvSpPr>
            <a:spLocks noGrp="1"/>
          </p:cNvSpPr>
          <p:nvPr>
            <p:ph idx="1"/>
          </p:nvPr>
        </p:nvSpPr>
        <p:spPr/>
        <p:txBody>
          <a:bodyPr/>
          <a:lstStyle/>
          <a:p>
            <a:endParaRPr lang="en-IN"/>
          </a:p>
        </p:txBody>
      </p:sp>
      <p:sp>
        <p:nvSpPr>
          <p:cNvPr id="2" name="object 2"/>
          <p:cNvSpPr txBox="1">
            <a:spLocks noGrp="1"/>
          </p:cNvSpPr>
          <p:nvPr>
            <p:ph type="title"/>
          </p:nvPr>
        </p:nvSpPr>
        <p:spPr>
          <a:prstGeom prst="rect">
            <a:avLst/>
          </a:prstGeom>
        </p:spPr>
        <p:txBody>
          <a:bodyPr vert="horz" wrap="square" lIns="0" tIns="17780" rIns="0" bIns="0" numCol="1" rtlCol="0" anchor="ctr" anchorCtr="0" compatLnSpc="1">
            <a:prstTxWarp prst="textNoShape">
              <a:avLst/>
            </a:prstTxWarp>
            <a:spAutoFit/>
          </a:bodyPr>
          <a:lstStyle/>
          <a:p>
            <a:pPr marL="16933">
              <a:spcBef>
                <a:spcPts val="140"/>
              </a:spcBef>
            </a:pPr>
            <a:r>
              <a:rPr dirty="0"/>
              <a:t>Continuous Integration</a:t>
            </a:r>
            <a:r>
              <a:rPr spc="-107" dirty="0"/>
              <a:t> </a:t>
            </a:r>
            <a:r>
              <a:rPr dirty="0"/>
              <a:t>Overview</a:t>
            </a:r>
          </a:p>
        </p:txBody>
      </p:sp>
      <p:sp>
        <p:nvSpPr>
          <p:cNvPr id="3" name="object 3"/>
          <p:cNvSpPr/>
          <p:nvPr/>
        </p:nvSpPr>
        <p:spPr>
          <a:xfrm>
            <a:off x="560831" y="1326896"/>
            <a:ext cx="8660383" cy="4297680"/>
          </a:xfrm>
          <a:prstGeom prst="rect">
            <a:avLst/>
          </a:prstGeom>
          <a:blipFill>
            <a:blip r:embed="rId2" cstate="print"/>
            <a:stretch>
              <a:fillRect/>
            </a:stretch>
          </a:blipFill>
        </p:spPr>
        <p:txBody>
          <a:bodyPr wrap="square" lIns="0" tIns="0" rIns="0" bIns="0" rtlCol="0"/>
          <a:lstStyle/>
          <a:p>
            <a:endParaRPr/>
          </a:p>
        </p:txBody>
      </p:sp>
      <p:sp>
        <p:nvSpPr>
          <p:cNvPr id="4" name="object 4"/>
          <p:cNvSpPr txBox="1"/>
          <p:nvPr/>
        </p:nvSpPr>
        <p:spPr>
          <a:xfrm>
            <a:off x="3617468" y="5924228"/>
            <a:ext cx="6302587" cy="233397"/>
          </a:xfrm>
          <a:prstGeom prst="rect">
            <a:avLst/>
          </a:prstGeom>
        </p:spPr>
        <p:txBody>
          <a:bodyPr vert="horz" wrap="square" lIns="0" tIns="17780" rIns="0" bIns="0" rtlCol="0">
            <a:spAutoFit/>
          </a:bodyPr>
          <a:lstStyle/>
          <a:p>
            <a:pPr marL="16933">
              <a:spcBef>
                <a:spcPts val="140"/>
              </a:spcBef>
            </a:pPr>
            <a:r>
              <a:rPr sz="1400" dirty="0">
                <a:solidFill>
                  <a:srgbClr val="401F40"/>
                </a:solidFill>
                <a:latin typeface="Arial"/>
                <a:cs typeface="Arial"/>
              </a:rPr>
              <a:t>source:</a:t>
            </a:r>
            <a:r>
              <a:rPr sz="1400" spc="113" dirty="0">
                <a:solidFill>
                  <a:srgbClr val="401F40"/>
                </a:solidFill>
                <a:latin typeface="Arial"/>
                <a:cs typeface="Arial"/>
              </a:rPr>
              <a:t> </a:t>
            </a:r>
            <a:r>
              <a:rPr sz="1400" u="sng" spc="-7" dirty="0">
                <a:solidFill>
                  <a:srgbClr val="1E1E23"/>
                </a:solidFill>
                <a:uFill>
                  <a:solidFill>
                    <a:srgbClr val="1E1E23"/>
                  </a:solidFill>
                </a:uFill>
                <a:latin typeface="Arial"/>
                <a:cs typeface="Arial"/>
                <a:hlinkClick r:id="rId3"/>
              </a:rPr>
              <a:t>http://www.javaworld.com/javaworld/jw-12-2008/images/CIOverview.jpg</a:t>
            </a:r>
            <a:endParaRPr sz="1400">
              <a:latin typeface="Arial"/>
              <a:cs typeface="Arial"/>
            </a:endParaRPr>
          </a:p>
        </p:txBody>
      </p:sp>
    </p:spTree>
    <p:extLst>
      <p:ext uri="{BB962C8B-B14F-4D97-AF65-F5344CB8AC3E}">
        <p14:creationId xmlns:p14="http://schemas.microsoft.com/office/powerpoint/2010/main" val="150450782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prstGeom prst="rect">
            <a:avLst/>
          </a:prstGeom>
        </p:spPr>
        <p:txBody>
          <a:bodyPr vert="horz" wrap="square" lIns="0" tIns="17780" rIns="0" bIns="0" numCol="1" rtlCol="0" anchor="ctr" anchorCtr="0" compatLnSpc="1">
            <a:prstTxWarp prst="textNoShape">
              <a:avLst/>
            </a:prstTxWarp>
            <a:spAutoFit/>
          </a:bodyPr>
          <a:lstStyle/>
          <a:p>
            <a:pPr marL="16933">
              <a:spcBef>
                <a:spcPts val="140"/>
              </a:spcBef>
            </a:pPr>
            <a:r>
              <a:rPr b="0" spc="-867" dirty="0">
                <a:latin typeface="Times New Roman"/>
                <a:cs typeface="Times New Roman"/>
              </a:rPr>
              <a:t> </a:t>
            </a:r>
            <a:r>
              <a:rPr dirty="0"/>
              <a:t>Life </a:t>
            </a:r>
            <a:r>
              <a:rPr spc="-7" dirty="0"/>
              <a:t>Cycle </a:t>
            </a:r>
            <a:r>
              <a:rPr dirty="0"/>
              <a:t>“default”</a:t>
            </a:r>
            <a:r>
              <a:rPr spc="-120" dirty="0"/>
              <a:t> </a:t>
            </a:r>
            <a:r>
              <a:rPr dirty="0"/>
              <a:t>(2)</a:t>
            </a:r>
          </a:p>
        </p:txBody>
      </p:sp>
      <p:sp>
        <p:nvSpPr>
          <p:cNvPr id="3" name="object 3"/>
          <p:cNvSpPr/>
          <p:nvPr/>
        </p:nvSpPr>
        <p:spPr>
          <a:xfrm>
            <a:off x="2182246" y="1379369"/>
            <a:ext cx="7775463" cy="4642351"/>
          </a:xfrm>
          <a:prstGeom prst="rect">
            <a:avLst/>
          </a:prstGeom>
          <a:blipFill>
            <a:blip r:embed="rId2" cstate="print"/>
            <a:stretch>
              <a:fillRect/>
            </a:stretch>
          </a:blipFill>
        </p:spPr>
        <p:txBody>
          <a:bodyPr wrap="square" lIns="0" tIns="0" rIns="0" bIns="0" rtlCol="0"/>
          <a:lstStyle/>
          <a:p>
            <a:endParaRPr/>
          </a:p>
        </p:txBody>
      </p:sp>
    </p:spTree>
    <p:extLst>
      <p:ext uri="{BB962C8B-B14F-4D97-AF65-F5344CB8AC3E}">
        <p14:creationId xmlns:p14="http://schemas.microsoft.com/office/powerpoint/2010/main" val="300506195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prstGeom prst="rect">
            <a:avLst/>
          </a:prstGeom>
        </p:spPr>
        <p:txBody>
          <a:bodyPr vert="horz" wrap="square" lIns="0" tIns="17780" rIns="0" bIns="0" numCol="1" rtlCol="0" anchor="ctr" anchorCtr="0" compatLnSpc="1">
            <a:prstTxWarp prst="textNoShape">
              <a:avLst/>
            </a:prstTxWarp>
            <a:spAutoFit/>
          </a:bodyPr>
          <a:lstStyle/>
          <a:p>
            <a:pPr marL="16933">
              <a:spcBef>
                <a:spcPts val="140"/>
              </a:spcBef>
            </a:pPr>
            <a:r>
              <a:rPr b="0" spc="-867" dirty="0">
                <a:latin typeface="Times New Roman"/>
                <a:cs typeface="Times New Roman"/>
              </a:rPr>
              <a:t> </a:t>
            </a:r>
            <a:r>
              <a:rPr spc="-7" dirty="0"/>
              <a:t>Lifecycle </a:t>
            </a:r>
            <a:r>
              <a:rPr dirty="0"/>
              <a:t>“clean” &amp;</a:t>
            </a:r>
            <a:r>
              <a:rPr spc="-13" dirty="0"/>
              <a:t> </a:t>
            </a:r>
            <a:r>
              <a:rPr dirty="0"/>
              <a:t>“site”</a:t>
            </a:r>
          </a:p>
        </p:txBody>
      </p:sp>
      <p:sp>
        <p:nvSpPr>
          <p:cNvPr id="3" name="object 3"/>
          <p:cNvSpPr/>
          <p:nvPr/>
        </p:nvSpPr>
        <p:spPr>
          <a:xfrm>
            <a:off x="2708699" y="1740234"/>
            <a:ext cx="5458524" cy="1589396"/>
          </a:xfrm>
          <a:prstGeom prst="rect">
            <a:avLst/>
          </a:prstGeom>
          <a:blipFill>
            <a:blip r:embed="rId2" cstate="print"/>
            <a:stretch>
              <a:fillRect/>
            </a:stretch>
          </a:blipFill>
        </p:spPr>
        <p:txBody>
          <a:bodyPr wrap="square" lIns="0" tIns="0" rIns="0" bIns="0" rtlCol="0"/>
          <a:lstStyle/>
          <a:p>
            <a:endParaRPr/>
          </a:p>
        </p:txBody>
      </p:sp>
      <p:sp>
        <p:nvSpPr>
          <p:cNvPr id="4" name="object 4"/>
          <p:cNvSpPr/>
          <p:nvPr/>
        </p:nvSpPr>
        <p:spPr>
          <a:xfrm>
            <a:off x="2775712" y="3983970"/>
            <a:ext cx="6514857" cy="1734849"/>
          </a:xfrm>
          <a:prstGeom prst="rect">
            <a:avLst/>
          </a:prstGeom>
          <a:blipFill>
            <a:blip r:embed="rId3" cstate="print"/>
            <a:stretch>
              <a:fillRect/>
            </a:stretch>
          </a:blipFill>
        </p:spPr>
        <p:txBody>
          <a:bodyPr wrap="square" lIns="0" tIns="0" rIns="0" bIns="0" rtlCol="0"/>
          <a:lstStyle/>
          <a:p>
            <a:endParaRPr/>
          </a:p>
        </p:txBody>
      </p:sp>
    </p:spTree>
    <p:extLst>
      <p:ext uri="{BB962C8B-B14F-4D97-AF65-F5344CB8AC3E}">
        <p14:creationId xmlns:p14="http://schemas.microsoft.com/office/powerpoint/2010/main" val="109969704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flipH="1">
            <a:off x="1334921" y="307001"/>
            <a:ext cx="1713078" cy="479618"/>
          </a:xfrm>
          <a:prstGeom prst="rect">
            <a:avLst/>
          </a:prstGeom>
        </p:spPr>
        <p:txBody>
          <a:bodyPr vert="horz" wrap="square" lIns="0" tIns="17780" rIns="0" bIns="0" numCol="1" rtlCol="0" anchor="t" anchorCtr="0" compatLnSpc="1">
            <a:prstTxWarp prst="textNoShape">
              <a:avLst/>
            </a:prstTxWarp>
            <a:spAutoFit/>
          </a:bodyPr>
          <a:lstStyle/>
          <a:p>
            <a:pPr marL="16933">
              <a:spcBef>
                <a:spcPts val="140"/>
              </a:spcBef>
            </a:pPr>
            <a:r>
              <a:rPr dirty="0"/>
              <a:t>Quiz</a:t>
            </a:r>
          </a:p>
        </p:txBody>
      </p:sp>
      <p:sp>
        <p:nvSpPr>
          <p:cNvPr id="3" name="object 3"/>
          <p:cNvSpPr txBox="1"/>
          <p:nvPr/>
        </p:nvSpPr>
        <p:spPr>
          <a:xfrm>
            <a:off x="1549591" y="966447"/>
            <a:ext cx="7033260" cy="5066002"/>
          </a:xfrm>
          <a:prstGeom prst="rect">
            <a:avLst/>
          </a:prstGeom>
        </p:spPr>
        <p:txBody>
          <a:bodyPr vert="horz" wrap="square" lIns="0" tIns="17780" rIns="0" bIns="0" rtlCol="0">
            <a:spAutoFit/>
          </a:bodyPr>
          <a:lstStyle/>
          <a:p>
            <a:pPr marL="474121" indent="-457189">
              <a:spcBef>
                <a:spcPts val="140"/>
              </a:spcBef>
              <a:buClr>
                <a:srgbClr val="00AFEF"/>
              </a:buClr>
              <a:buAutoNum type="arabicParenR"/>
              <a:tabLst>
                <a:tab pos="474121" algn="l"/>
              </a:tabLst>
            </a:pPr>
            <a:r>
              <a:rPr sz="2667" dirty="0">
                <a:solidFill>
                  <a:srgbClr val="4D4E5C"/>
                </a:solidFill>
                <a:latin typeface="Arial"/>
                <a:cs typeface="Arial"/>
              </a:rPr>
              <a:t>List of the proper hierarchy of Build</a:t>
            </a:r>
            <a:r>
              <a:rPr sz="2667" spc="-253" dirty="0">
                <a:solidFill>
                  <a:srgbClr val="4D4E5C"/>
                </a:solidFill>
                <a:latin typeface="Arial"/>
                <a:cs typeface="Arial"/>
              </a:rPr>
              <a:t> </a:t>
            </a:r>
            <a:r>
              <a:rPr sz="2667" dirty="0">
                <a:solidFill>
                  <a:srgbClr val="4D4E5C"/>
                </a:solidFill>
                <a:latin typeface="Arial"/>
                <a:cs typeface="Arial"/>
              </a:rPr>
              <a:t>lifecycle</a:t>
            </a:r>
            <a:endParaRPr sz="2667">
              <a:latin typeface="Arial"/>
              <a:cs typeface="Arial"/>
            </a:endParaRPr>
          </a:p>
          <a:p>
            <a:pPr>
              <a:spcBef>
                <a:spcPts val="47"/>
              </a:spcBef>
              <a:buClr>
                <a:srgbClr val="00AFEF"/>
              </a:buClr>
              <a:buFont typeface="Arial"/>
              <a:buAutoNum type="arabicParenR"/>
            </a:pPr>
            <a:endParaRPr sz="4133">
              <a:latin typeface="Times New Roman"/>
              <a:cs typeface="Times New Roman"/>
            </a:endParaRPr>
          </a:p>
          <a:p>
            <a:pPr marL="474121" lvl="1" indent="-457189">
              <a:buClr>
                <a:srgbClr val="00AFEF"/>
              </a:buClr>
              <a:buAutoNum type="alphaLcParenR"/>
              <a:tabLst>
                <a:tab pos="474121" algn="l"/>
              </a:tabLst>
            </a:pPr>
            <a:r>
              <a:rPr sz="2667" spc="-27" dirty="0">
                <a:solidFill>
                  <a:srgbClr val="4D4E5C"/>
                </a:solidFill>
                <a:latin typeface="Arial"/>
                <a:cs typeface="Arial"/>
              </a:rPr>
              <a:t>Verify</a:t>
            </a:r>
            <a:endParaRPr sz="2667">
              <a:latin typeface="Arial"/>
              <a:cs typeface="Arial"/>
            </a:endParaRPr>
          </a:p>
          <a:p>
            <a:pPr marL="474121" lvl="1" indent="-457189">
              <a:spcBef>
                <a:spcPts val="800"/>
              </a:spcBef>
              <a:buClr>
                <a:srgbClr val="00AFEF"/>
              </a:buClr>
              <a:buAutoNum type="alphaLcParenR"/>
              <a:tabLst>
                <a:tab pos="474121" algn="l"/>
              </a:tabLst>
            </a:pPr>
            <a:r>
              <a:rPr sz="2667" spc="-27" dirty="0">
                <a:solidFill>
                  <a:srgbClr val="4D4E5C"/>
                </a:solidFill>
                <a:latin typeface="Arial"/>
                <a:cs typeface="Arial"/>
              </a:rPr>
              <a:t>Validate</a:t>
            </a:r>
            <a:endParaRPr sz="2667">
              <a:latin typeface="Arial"/>
              <a:cs typeface="Arial"/>
            </a:endParaRPr>
          </a:p>
          <a:p>
            <a:pPr marL="474121" lvl="1" indent="-457189">
              <a:spcBef>
                <a:spcPts val="807"/>
              </a:spcBef>
              <a:buClr>
                <a:srgbClr val="00AFEF"/>
              </a:buClr>
              <a:buAutoNum type="alphaLcParenR"/>
              <a:tabLst>
                <a:tab pos="473275" algn="l"/>
                <a:tab pos="474121" algn="l"/>
              </a:tabLst>
            </a:pPr>
            <a:r>
              <a:rPr sz="2667" dirty="0">
                <a:solidFill>
                  <a:srgbClr val="4D4E5C"/>
                </a:solidFill>
                <a:latin typeface="Arial"/>
                <a:cs typeface="Arial"/>
              </a:rPr>
              <a:t>Compile</a:t>
            </a:r>
            <a:endParaRPr sz="2667">
              <a:latin typeface="Arial"/>
              <a:cs typeface="Arial"/>
            </a:endParaRPr>
          </a:p>
          <a:p>
            <a:pPr marL="474121" lvl="1" indent="-457189">
              <a:spcBef>
                <a:spcPts val="800"/>
              </a:spcBef>
              <a:buClr>
                <a:srgbClr val="00AFEF"/>
              </a:buClr>
              <a:buAutoNum type="alphaLcParenR"/>
              <a:tabLst>
                <a:tab pos="474121" algn="l"/>
              </a:tabLst>
            </a:pPr>
            <a:r>
              <a:rPr sz="2667" dirty="0">
                <a:solidFill>
                  <a:srgbClr val="4D4E5C"/>
                </a:solidFill>
                <a:latin typeface="Arial"/>
                <a:cs typeface="Arial"/>
              </a:rPr>
              <a:t>Package</a:t>
            </a:r>
            <a:endParaRPr sz="2667">
              <a:latin typeface="Arial"/>
              <a:cs typeface="Arial"/>
            </a:endParaRPr>
          </a:p>
          <a:p>
            <a:pPr marL="474121" lvl="1" indent="-457189">
              <a:spcBef>
                <a:spcPts val="800"/>
              </a:spcBef>
              <a:buClr>
                <a:srgbClr val="00AFEF"/>
              </a:buClr>
              <a:buAutoNum type="alphaLcParenR"/>
              <a:tabLst>
                <a:tab pos="474121" algn="l"/>
              </a:tabLst>
            </a:pPr>
            <a:r>
              <a:rPr sz="2667" dirty="0">
                <a:solidFill>
                  <a:srgbClr val="4D4E5C"/>
                </a:solidFill>
                <a:latin typeface="Arial"/>
                <a:cs typeface="Arial"/>
              </a:rPr>
              <a:t>Integration</a:t>
            </a:r>
            <a:r>
              <a:rPr sz="2667" spc="-60" dirty="0">
                <a:solidFill>
                  <a:srgbClr val="4D4E5C"/>
                </a:solidFill>
                <a:latin typeface="Arial"/>
                <a:cs typeface="Arial"/>
              </a:rPr>
              <a:t> </a:t>
            </a:r>
            <a:r>
              <a:rPr sz="2667" dirty="0">
                <a:solidFill>
                  <a:srgbClr val="4D4E5C"/>
                </a:solidFill>
                <a:latin typeface="Arial"/>
                <a:cs typeface="Arial"/>
              </a:rPr>
              <a:t>test</a:t>
            </a:r>
            <a:endParaRPr sz="2667">
              <a:latin typeface="Arial"/>
              <a:cs typeface="Arial"/>
            </a:endParaRPr>
          </a:p>
          <a:p>
            <a:pPr marL="474121" lvl="1" indent="-457189">
              <a:spcBef>
                <a:spcPts val="800"/>
              </a:spcBef>
              <a:buClr>
                <a:srgbClr val="00AFEF"/>
              </a:buClr>
              <a:buAutoNum type="alphaLcParenR"/>
              <a:tabLst>
                <a:tab pos="473275" algn="l"/>
                <a:tab pos="474121" algn="l"/>
              </a:tabLst>
            </a:pPr>
            <a:r>
              <a:rPr sz="2667" spc="-73" dirty="0">
                <a:solidFill>
                  <a:srgbClr val="4D4E5C"/>
                </a:solidFill>
                <a:latin typeface="Arial"/>
                <a:cs typeface="Arial"/>
              </a:rPr>
              <a:t>Test</a:t>
            </a:r>
            <a:endParaRPr sz="2667">
              <a:latin typeface="Arial"/>
              <a:cs typeface="Arial"/>
            </a:endParaRPr>
          </a:p>
          <a:p>
            <a:pPr marL="474121" lvl="1" indent="-457189">
              <a:spcBef>
                <a:spcPts val="800"/>
              </a:spcBef>
              <a:buClr>
                <a:srgbClr val="00AFEF"/>
              </a:buClr>
              <a:buAutoNum type="alphaLcParenR"/>
              <a:tabLst>
                <a:tab pos="474121" algn="l"/>
              </a:tabLst>
            </a:pPr>
            <a:r>
              <a:rPr sz="2667" dirty="0">
                <a:solidFill>
                  <a:srgbClr val="4D4E5C"/>
                </a:solidFill>
                <a:latin typeface="Arial"/>
                <a:cs typeface="Arial"/>
              </a:rPr>
              <a:t>Deploy</a:t>
            </a:r>
            <a:endParaRPr sz="2667">
              <a:latin typeface="Arial"/>
              <a:cs typeface="Arial"/>
            </a:endParaRPr>
          </a:p>
          <a:p>
            <a:pPr marL="474121" lvl="1" indent="-457189">
              <a:spcBef>
                <a:spcPts val="800"/>
              </a:spcBef>
              <a:buClr>
                <a:srgbClr val="00AFEF"/>
              </a:buClr>
              <a:buAutoNum type="alphaLcParenR"/>
              <a:tabLst>
                <a:tab pos="474121" algn="l"/>
              </a:tabLst>
            </a:pPr>
            <a:r>
              <a:rPr sz="2667" dirty="0">
                <a:solidFill>
                  <a:srgbClr val="4D4E5C"/>
                </a:solidFill>
                <a:latin typeface="Arial"/>
                <a:cs typeface="Arial"/>
              </a:rPr>
              <a:t>Install</a:t>
            </a:r>
            <a:endParaRPr sz="2667">
              <a:latin typeface="Arial"/>
              <a:cs typeface="Arial"/>
            </a:endParaRPr>
          </a:p>
        </p:txBody>
      </p:sp>
    </p:spTree>
    <p:extLst>
      <p:ext uri="{BB962C8B-B14F-4D97-AF65-F5344CB8AC3E}">
        <p14:creationId xmlns:p14="http://schemas.microsoft.com/office/powerpoint/2010/main" val="376748981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154546" y="251583"/>
            <a:ext cx="1366982" cy="479618"/>
          </a:xfrm>
          <a:prstGeom prst="rect">
            <a:avLst/>
          </a:prstGeom>
        </p:spPr>
        <p:txBody>
          <a:bodyPr vert="horz" wrap="square" lIns="0" tIns="17780" rIns="0" bIns="0" numCol="1" rtlCol="0" anchor="t" anchorCtr="0" compatLnSpc="1">
            <a:prstTxWarp prst="textNoShape">
              <a:avLst/>
            </a:prstTxWarp>
            <a:spAutoFit/>
          </a:bodyPr>
          <a:lstStyle/>
          <a:p>
            <a:pPr marL="16933">
              <a:spcBef>
                <a:spcPts val="140"/>
              </a:spcBef>
            </a:pPr>
            <a:r>
              <a:rPr dirty="0"/>
              <a:t>Quiz</a:t>
            </a:r>
          </a:p>
        </p:txBody>
      </p:sp>
      <p:sp>
        <p:nvSpPr>
          <p:cNvPr id="3" name="object 3"/>
          <p:cNvSpPr txBox="1"/>
          <p:nvPr/>
        </p:nvSpPr>
        <p:spPr>
          <a:xfrm>
            <a:off x="284208" y="918972"/>
            <a:ext cx="6810587" cy="5434843"/>
          </a:xfrm>
          <a:prstGeom prst="rect">
            <a:avLst/>
          </a:prstGeom>
        </p:spPr>
        <p:txBody>
          <a:bodyPr vert="horz" wrap="square" lIns="0" tIns="16087" rIns="0" bIns="0" rtlCol="0">
            <a:spAutoFit/>
          </a:bodyPr>
          <a:lstStyle/>
          <a:p>
            <a:pPr marL="16933">
              <a:spcBef>
                <a:spcPts val="127"/>
              </a:spcBef>
            </a:pPr>
            <a:r>
              <a:rPr sz="2533" spc="-7" dirty="0">
                <a:solidFill>
                  <a:srgbClr val="4D4E5C"/>
                </a:solidFill>
                <a:latin typeface="Arial"/>
                <a:cs typeface="Arial"/>
              </a:rPr>
              <a:t>2) Command </a:t>
            </a:r>
            <a:r>
              <a:rPr sz="2533" spc="-13" dirty="0">
                <a:solidFill>
                  <a:srgbClr val="4D4E5C"/>
                </a:solidFill>
                <a:latin typeface="Arial"/>
                <a:cs typeface="Arial"/>
              </a:rPr>
              <a:t>which </a:t>
            </a:r>
            <a:r>
              <a:rPr sz="2533" spc="-7" dirty="0">
                <a:solidFill>
                  <a:srgbClr val="4D4E5C"/>
                </a:solidFill>
                <a:latin typeface="Arial"/>
                <a:cs typeface="Arial"/>
              </a:rPr>
              <a:t>generates jar file</a:t>
            </a:r>
            <a:r>
              <a:rPr sz="2533" spc="207" dirty="0">
                <a:solidFill>
                  <a:srgbClr val="4D4E5C"/>
                </a:solidFill>
                <a:latin typeface="Arial"/>
                <a:cs typeface="Arial"/>
              </a:rPr>
              <a:t> </a:t>
            </a:r>
            <a:r>
              <a:rPr sz="2533" spc="-7" dirty="0">
                <a:solidFill>
                  <a:srgbClr val="4D4E5C"/>
                </a:solidFill>
                <a:latin typeface="Arial"/>
                <a:cs typeface="Arial"/>
              </a:rPr>
              <a:t>is</a:t>
            </a:r>
            <a:endParaRPr sz="2533">
              <a:latin typeface="Arial"/>
              <a:cs typeface="Arial"/>
            </a:endParaRPr>
          </a:p>
          <a:p>
            <a:pPr>
              <a:spcBef>
                <a:spcPts val="53"/>
              </a:spcBef>
            </a:pPr>
            <a:endParaRPr sz="2933">
              <a:latin typeface="Times New Roman"/>
              <a:cs typeface="Times New Roman"/>
            </a:endParaRPr>
          </a:p>
          <a:p>
            <a:pPr marL="474121" indent="-457189">
              <a:buClr>
                <a:srgbClr val="00AFEF"/>
              </a:buClr>
              <a:buAutoNum type="alphaLcParenR"/>
              <a:tabLst>
                <a:tab pos="473275" algn="l"/>
                <a:tab pos="474121" algn="l"/>
              </a:tabLst>
            </a:pPr>
            <a:r>
              <a:rPr sz="2533" spc="-7" dirty="0">
                <a:solidFill>
                  <a:srgbClr val="4D4E5C"/>
                </a:solidFill>
                <a:latin typeface="Arial"/>
                <a:cs typeface="Arial"/>
              </a:rPr>
              <a:t>Deploy</a:t>
            </a:r>
            <a:endParaRPr sz="2533">
              <a:latin typeface="Arial"/>
              <a:cs typeface="Arial"/>
            </a:endParaRPr>
          </a:p>
          <a:p>
            <a:pPr marL="474121" indent="-457189">
              <a:spcBef>
                <a:spcPts val="193"/>
              </a:spcBef>
              <a:buClr>
                <a:srgbClr val="00AFEF"/>
              </a:buClr>
              <a:buAutoNum type="alphaLcParenR"/>
              <a:tabLst>
                <a:tab pos="473275" algn="l"/>
                <a:tab pos="474121" algn="l"/>
              </a:tabLst>
            </a:pPr>
            <a:r>
              <a:rPr sz="2533" spc="-7" dirty="0">
                <a:solidFill>
                  <a:srgbClr val="4D4E5C"/>
                </a:solidFill>
                <a:latin typeface="Arial"/>
                <a:cs typeface="Arial"/>
              </a:rPr>
              <a:t>Install</a:t>
            </a:r>
            <a:endParaRPr sz="2533">
              <a:latin typeface="Arial"/>
              <a:cs typeface="Arial"/>
            </a:endParaRPr>
          </a:p>
          <a:p>
            <a:pPr marL="474121" indent="-457189">
              <a:spcBef>
                <a:spcPts val="193"/>
              </a:spcBef>
              <a:buClr>
                <a:srgbClr val="00AFEF"/>
              </a:buClr>
              <a:buAutoNum type="alphaLcParenR"/>
              <a:tabLst>
                <a:tab pos="473275" algn="l"/>
                <a:tab pos="474121" algn="l"/>
              </a:tabLst>
            </a:pPr>
            <a:r>
              <a:rPr sz="2533" spc="-27" dirty="0">
                <a:solidFill>
                  <a:srgbClr val="4D4E5C"/>
                </a:solidFill>
                <a:latin typeface="Arial"/>
                <a:cs typeface="Arial"/>
              </a:rPr>
              <a:t>Validate</a:t>
            </a:r>
            <a:endParaRPr sz="2533">
              <a:latin typeface="Arial"/>
              <a:cs typeface="Arial"/>
            </a:endParaRPr>
          </a:p>
          <a:p>
            <a:pPr marL="474121" indent="-457189">
              <a:spcBef>
                <a:spcPts val="193"/>
              </a:spcBef>
              <a:buClr>
                <a:srgbClr val="00AFEF"/>
              </a:buClr>
              <a:buAutoNum type="alphaLcParenR"/>
              <a:tabLst>
                <a:tab pos="473275" algn="l"/>
                <a:tab pos="474121" algn="l"/>
              </a:tabLst>
            </a:pPr>
            <a:r>
              <a:rPr sz="2533" spc="-7" dirty="0">
                <a:solidFill>
                  <a:srgbClr val="4D4E5C"/>
                </a:solidFill>
                <a:latin typeface="Arial"/>
                <a:cs typeface="Arial"/>
              </a:rPr>
              <a:t>Package</a:t>
            </a:r>
            <a:endParaRPr sz="2533">
              <a:latin typeface="Arial"/>
              <a:cs typeface="Arial"/>
            </a:endParaRPr>
          </a:p>
          <a:p>
            <a:pPr>
              <a:spcBef>
                <a:spcPts val="47"/>
              </a:spcBef>
            </a:pPr>
            <a:endParaRPr sz="2933">
              <a:latin typeface="Times New Roman"/>
              <a:cs typeface="Times New Roman"/>
            </a:endParaRPr>
          </a:p>
          <a:p>
            <a:pPr marL="16933">
              <a:spcBef>
                <a:spcPts val="7"/>
              </a:spcBef>
            </a:pPr>
            <a:r>
              <a:rPr sz="2533" spc="-7" dirty="0">
                <a:solidFill>
                  <a:srgbClr val="4D4E5C"/>
                </a:solidFill>
                <a:latin typeface="Arial"/>
                <a:cs typeface="Arial"/>
              </a:rPr>
              <a:t>3) Command </a:t>
            </a:r>
            <a:r>
              <a:rPr sz="2533" spc="-13" dirty="0">
                <a:solidFill>
                  <a:srgbClr val="4D4E5C"/>
                </a:solidFill>
                <a:latin typeface="Arial"/>
                <a:cs typeface="Arial"/>
              </a:rPr>
              <a:t>which </a:t>
            </a:r>
            <a:r>
              <a:rPr sz="2533" spc="-7" dirty="0">
                <a:solidFill>
                  <a:srgbClr val="4D4E5C"/>
                </a:solidFill>
                <a:latin typeface="Arial"/>
                <a:cs typeface="Arial"/>
              </a:rPr>
              <a:t>helps to release the build</a:t>
            </a:r>
            <a:r>
              <a:rPr sz="2533" spc="287" dirty="0">
                <a:solidFill>
                  <a:srgbClr val="4D4E5C"/>
                </a:solidFill>
                <a:latin typeface="Arial"/>
                <a:cs typeface="Arial"/>
              </a:rPr>
              <a:t> </a:t>
            </a:r>
            <a:r>
              <a:rPr sz="2533" spc="-7" dirty="0">
                <a:solidFill>
                  <a:srgbClr val="4D4E5C"/>
                </a:solidFill>
                <a:latin typeface="Arial"/>
                <a:cs typeface="Arial"/>
              </a:rPr>
              <a:t>is</a:t>
            </a:r>
            <a:endParaRPr sz="2533">
              <a:latin typeface="Arial"/>
              <a:cs typeface="Arial"/>
            </a:endParaRPr>
          </a:p>
          <a:p>
            <a:pPr>
              <a:spcBef>
                <a:spcPts val="47"/>
              </a:spcBef>
            </a:pPr>
            <a:endParaRPr sz="2933">
              <a:latin typeface="Times New Roman"/>
              <a:cs typeface="Times New Roman"/>
            </a:endParaRPr>
          </a:p>
          <a:p>
            <a:pPr marL="474121" indent="-457189">
              <a:spcBef>
                <a:spcPts val="7"/>
              </a:spcBef>
              <a:buClr>
                <a:srgbClr val="00AFEF"/>
              </a:buClr>
              <a:buAutoNum type="alphaLcParenR"/>
              <a:tabLst>
                <a:tab pos="473275" algn="l"/>
                <a:tab pos="474121" algn="l"/>
              </a:tabLst>
            </a:pPr>
            <a:r>
              <a:rPr sz="2533" spc="-7" dirty="0">
                <a:solidFill>
                  <a:srgbClr val="4D4E5C"/>
                </a:solidFill>
                <a:latin typeface="Arial"/>
                <a:cs typeface="Arial"/>
              </a:rPr>
              <a:t>Install</a:t>
            </a:r>
            <a:endParaRPr sz="2533">
              <a:latin typeface="Arial"/>
              <a:cs typeface="Arial"/>
            </a:endParaRPr>
          </a:p>
          <a:p>
            <a:pPr marL="474121" indent="-457189">
              <a:spcBef>
                <a:spcPts val="193"/>
              </a:spcBef>
              <a:buClr>
                <a:srgbClr val="00AFEF"/>
              </a:buClr>
              <a:buAutoNum type="alphaLcParenR"/>
              <a:tabLst>
                <a:tab pos="473275" algn="l"/>
                <a:tab pos="474121" algn="l"/>
              </a:tabLst>
            </a:pPr>
            <a:r>
              <a:rPr sz="2533" spc="-7" dirty="0">
                <a:solidFill>
                  <a:srgbClr val="4D4E5C"/>
                </a:solidFill>
                <a:latin typeface="Arial"/>
                <a:cs typeface="Arial"/>
              </a:rPr>
              <a:t>Deploy</a:t>
            </a:r>
            <a:endParaRPr sz="2533">
              <a:latin typeface="Arial"/>
              <a:cs typeface="Arial"/>
            </a:endParaRPr>
          </a:p>
          <a:p>
            <a:pPr marL="474121" indent="-457189">
              <a:spcBef>
                <a:spcPts val="187"/>
              </a:spcBef>
              <a:buClr>
                <a:srgbClr val="00AFEF"/>
              </a:buClr>
              <a:buAutoNum type="alphaLcParenR"/>
              <a:tabLst>
                <a:tab pos="473275" algn="l"/>
                <a:tab pos="474121" algn="l"/>
              </a:tabLst>
            </a:pPr>
            <a:r>
              <a:rPr sz="2533" spc="-7" dirty="0">
                <a:solidFill>
                  <a:srgbClr val="4D4E5C"/>
                </a:solidFill>
                <a:latin typeface="Arial"/>
                <a:cs typeface="Arial"/>
              </a:rPr>
              <a:t>Package</a:t>
            </a:r>
            <a:endParaRPr sz="2533">
              <a:latin typeface="Arial"/>
              <a:cs typeface="Arial"/>
            </a:endParaRPr>
          </a:p>
          <a:p>
            <a:pPr marL="474121" indent="-457189">
              <a:spcBef>
                <a:spcPts val="200"/>
              </a:spcBef>
              <a:buClr>
                <a:srgbClr val="00AFEF"/>
              </a:buClr>
              <a:buAutoNum type="alphaLcParenR"/>
              <a:tabLst>
                <a:tab pos="473275" algn="l"/>
                <a:tab pos="474121" algn="l"/>
              </a:tabLst>
            </a:pPr>
            <a:r>
              <a:rPr sz="2533" spc="-7" dirty="0">
                <a:solidFill>
                  <a:srgbClr val="4D4E5C"/>
                </a:solidFill>
                <a:latin typeface="Arial"/>
                <a:cs typeface="Arial"/>
              </a:rPr>
              <a:t>Integration-test</a:t>
            </a:r>
            <a:endParaRPr sz="2533">
              <a:latin typeface="Arial"/>
              <a:cs typeface="Arial"/>
            </a:endParaRPr>
          </a:p>
        </p:txBody>
      </p:sp>
    </p:spTree>
    <p:extLst>
      <p:ext uri="{BB962C8B-B14F-4D97-AF65-F5344CB8AC3E}">
        <p14:creationId xmlns:p14="http://schemas.microsoft.com/office/powerpoint/2010/main" val="266229650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988291" y="307001"/>
            <a:ext cx="2179782" cy="479618"/>
          </a:xfrm>
          <a:prstGeom prst="rect">
            <a:avLst/>
          </a:prstGeom>
        </p:spPr>
        <p:txBody>
          <a:bodyPr vert="horz" wrap="square" lIns="0" tIns="17780" rIns="0" bIns="0" numCol="1" rtlCol="0" anchor="t" anchorCtr="0" compatLnSpc="1">
            <a:prstTxWarp prst="textNoShape">
              <a:avLst/>
            </a:prstTxWarp>
            <a:spAutoFit/>
          </a:bodyPr>
          <a:lstStyle/>
          <a:p>
            <a:pPr marL="16933">
              <a:spcBef>
                <a:spcPts val="140"/>
              </a:spcBef>
            </a:pPr>
            <a:r>
              <a:rPr dirty="0"/>
              <a:t>R</a:t>
            </a:r>
            <a:r>
              <a:rPr spc="7" dirty="0"/>
              <a:t>e</a:t>
            </a:r>
            <a:r>
              <a:rPr dirty="0"/>
              <a:t>feren</a:t>
            </a:r>
            <a:r>
              <a:rPr spc="7" dirty="0"/>
              <a:t>c</a:t>
            </a:r>
            <a:r>
              <a:rPr dirty="0"/>
              <a:t>es</a:t>
            </a:r>
          </a:p>
        </p:txBody>
      </p:sp>
      <p:sp>
        <p:nvSpPr>
          <p:cNvPr id="3" name="object 3"/>
          <p:cNvSpPr txBox="1"/>
          <p:nvPr/>
        </p:nvSpPr>
        <p:spPr>
          <a:xfrm>
            <a:off x="284208" y="994156"/>
            <a:ext cx="10666307" cy="838819"/>
          </a:xfrm>
          <a:prstGeom prst="rect">
            <a:avLst/>
          </a:prstGeom>
        </p:spPr>
        <p:txBody>
          <a:bodyPr vert="horz" wrap="square" lIns="0" tIns="17780" rIns="0" bIns="0" rtlCol="0">
            <a:spAutoFit/>
          </a:bodyPr>
          <a:lstStyle/>
          <a:p>
            <a:pPr marL="16933">
              <a:spcBef>
                <a:spcPts val="140"/>
              </a:spcBef>
              <a:tabLst>
                <a:tab pos="625671" algn="l"/>
              </a:tabLst>
            </a:pPr>
            <a:r>
              <a:rPr sz="2667" dirty="0">
                <a:solidFill>
                  <a:srgbClr val="00AFEF"/>
                </a:solidFill>
                <a:latin typeface="Arial"/>
                <a:cs typeface="Arial"/>
                <a:hlinkClick r:id="rId2"/>
              </a:rPr>
              <a:t>1.	</a:t>
            </a:r>
            <a:r>
              <a:rPr sz="2667" u="heavy" spc="-7" dirty="0">
                <a:solidFill>
                  <a:srgbClr val="1E1E23"/>
                </a:solidFill>
                <a:uFill>
                  <a:solidFill>
                    <a:srgbClr val="1E1E23"/>
                  </a:solidFill>
                </a:uFill>
                <a:latin typeface="Arial"/>
                <a:cs typeface="Arial"/>
                <a:hlinkClick r:id="rId2"/>
              </a:rPr>
              <a:t>https://www.cs.colorado.edu/~kena/classes/5828/s12/presentation-</a:t>
            </a:r>
            <a:endParaRPr sz="2667">
              <a:latin typeface="Arial"/>
              <a:cs typeface="Arial"/>
            </a:endParaRPr>
          </a:p>
          <a:p>
            <a:pPr marL="626518"/>
            <a:r>
              <a:rPr sz="2667" u="heavy" dirty="0">
                <a:solidFill>
                  <a:srgbClr val="1E1E23"/>
                </a:solidFill>
                <a:uFill>
                  <a:solidFill>
                    <a:srgbClr val="1E1E23"/>
                  </a:solidFill>
                </a:uFill>
                <a:latin typeface="Arial"/>
                <a:cs typeface="Arial"/>
                <a:hlinkClick r:id="rId2"/>
              </a:rPr>
              <a:t>materials/bowesjesse.pdf</a:t>
            </a:r>
            <a:endParaRPr sz="2667">
              <a:latin typeface="Arial"/>
              <a:cs typeface="Arial"/>
            </a:endParaRPr>
          </a:p>
        </p:txBody>
      </p:sp>
    </p:spTree>
    <p:extLst>
      <p:ext uri="{BB962C8B-B14F-4D97-AF65-F5344CB8AC3E}">
        <p14:creationId xmlns:p14="http://schemas.microsoft.com/office/powerpoint/2010/main" val="131527841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001484" y="960699"/>
            <a:ext cx="10926987" cy="5078313"/>
          </a:xfrm>
        </p:spPr>
        <p:txBody>
          <a:bodyPr/>
          <a:lstStyle/>
          <a:p>
            <a:pPr algn="ctr"/>
            <a:endParaRPr lang="en-US" sz="6000" dirty="0" smtClean="0"/>
          </a:p>
          <a:p>
            <a:pPr algn="ctr"/>
            <a:endParaRPr lang="en-US" sz="6000" dirty="0"/>
          </a:p>
          <a:p>
            <a:pPr algn="ctr"/>
            <a:r>
              <a:rPr lang="en-US" sz="4000" dirty="0" smtClean="0"/>
              <a:t>THANK YOU !</a:t>
            </a:r>
          </a:p>
          <a:p>
            <a:pPr algn="ctr"/>
            <a:endParaRPr lang="en-US" sz="4000" dirty="0"/>
          </a:p>
          <a:p>
            <a:pPr algn="ctr"/>
            <a:r>
              <a:rPr lang="en-US" sz="4000" dirty="0" smtClean="0"/>
              <a:t>                                             </a:t>
            </a:r>
          </a:p>
          <a:p>
            <a:pPr algn="ctr"/>
            <a:endParaRPr lang="en-US" sz="4000" dirty="0"/>
          </a:p>
          <a:p>
            <a:pPr algn="ctr"/>
            <a:r>
              <a:rPr lang="en-US" sz="4000" dirty="0" smtClean="0"/>
              <a:t>                                           - Karthik Sivakumar</a:t>
            </a:r>
            <a:endParaRPr lang="en-US" sz="4000" dirty="0"/>
          </a:p>
        </p:txBody>
      </p:sp>
      <p:sp>
        <p:nvSpPr>
          <p:cNvPr id="3" name="Title 2"/>
          <p:cNvSpPr>
            <a:spLocks noGrp="1"/>
          </p:cNvSpPr>
          <p:nvPr>
            <p:ph type="title"/>
          </p:nvPr>
        </p:nvSpPr>
        <p:spPr/>
        <p:txBody>
          <a:bodyPr/>
          <a:lstStyle/>
          <a:p>
            <a:endParaRPr lang="en-US"/>
          </a:p>
        </p:txBody>
      </p:sp>
    </p:spTree>
    <p:extLst>
      <p:ext uri="{BB962C8B-B14F-4D97-AF65-F5344CB8AC3E}">
        <p14:creationId xmlns:p14="http://schemas.microsoft.com/office/powerpoint/2010/main" val="5834421"/>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914853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2395686" y="1062707"/>
            <a:ext cx="7063301" cy="5055655"/>
          </a:xfrm>
          <a:prstGeom prst="rect">
            <a:avLst/>
          </a:prstGeom>
          <a:blipFill>
            <a:blip r:embed="rId2" cstate="print"/>
            <a:stretch>
              <a:fillRect/>
            </a:stretch>
          </a:blipFill>
        </p:spPr>
        <p:txBody>
          <a:bodyPr wrap="square" lIns="0" tIns="0" rIns="0" bIns="0" rtlCol="0"/>
          <a:lstStyle/>
          <a:p>
            <a:endParaRPr/>
          </a:p>
        </p:txBody>
      </p:sp>
      <p:sp>
        <p:nvSpPr>
          <p:cNvPr id="8" name="Title 7"/>
          <p:cNvSpPr>
            <a:spLocks noGrp="1"/>
          </p:cNvSpPr>
          <p:nvPr>
            <p:ph type="title"/>
          </p:nvPr>
        </p:nvSpPr>
        <p:spPr/>
        <p:txBody>
          <a:bodyPr/>
          <a:lstStyle/>
          <a:p>
            <a:endParaRPr lang="en-IN"/>
          </a:p>
        </p:txBody>
      </p:sp>
      <p:sp>
        <p:nvSpPr>
          <p:cNvPr id="9" name="Content Placeholder 8"/>
          <p:cNvSpPr>
            <a:spLocks noGrp="1"/>
          </p:cNvSpPr>
          <p:nvPr>
            <p:ph idx="1"/>
          </p:nvPr>
        </p:nvSpPr>
        <p:spPr/>
        <p:txBody>
          <a:bodyPr/>
          <a:lstStyle/>
          <a:p>
            <a:endParaRPr lang="en-IN"/>
          </a:p>
        </p:txBody>
      </p:sp>
    </p:spTree>
    <p:extLst>
      <p:ext uri="{BB962C8B-B14F-4D97-AF65-F5344CB8AC3E}">
        <p14:creationId xmlns:p14="http://schemas.microsoft.com/office/powerpoint/2010/main" val="376103368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163781" y="307002"/>
            <a:ext cx="2355273" cy="479618"/>
          </a:xfrm>
          <a:prstGeom prst="rect">
            <a:avLst/>
          </a:prstGeom>
        </p:spPr>
        <p:txBody>
          <a:bodyPr vert="horz" wrap="square" lIns="0" tIns="17780" rIns="0" bIns="0" numCol="1" rtlCol="0" anchor="t" anchorCtr="0" compatLnSpc="1">
            <a:prstTxWarp prst="textNoShape">
              <a:avLst/>
            </a:prstTxWarp>
            <a:spAutoFit/>
          </a:bodyPr>
          <a:lstStyle/>
          <a:p>
            <a:pPr marL="16933">
              <a:spcBef>
                <a:spcPts val="140"/>
              </a:spcBef>
            </a:pPr>
            <a:r>
              <a:rPr spc="-67" dirty="0"/>
              <a:t>W</a:t>
            </a:r>
            <a:r>
              <a:rPr dirty="0"/>
              <a:t>orkflow</a:t>
            </a:r>
          </a:p>
        </p:txBody>
      </p:sp>
      <p:sp>
        <p:nvSpPr>
          <p:cNvPr id="3" name="object 3"/>
          <p:cNvSpPr txBox="1"/>
          <p:nvPr/>
        </p:nvSpPr>
        <p:spPr>
          <a:xfrm>
            <a:off x="284208" y="1066364"/>
            <a:ext cx="5926667" cy="4969203"/>
          </a:xfrm>
          <a:prstGeom prst="rect">
            <a:avLst/>
          </a:prstGeom>
        </p:spPr>
        <p:txBody>
          <a:bodyPr vert="horz" wrap="square" lIns="0" tIns="61807" rIns="0" bIns="0" rtlCol="0">
            <a:spAutoFit/>
          </a:bodyPr>
          <a:lstStyle/>
          <a:p>
            <a:pPr marL="16933">
              <a:spcBef>
                <a:spcPts val="487"/>
              </a:spcBef>
            </a:pPr>
            <a:r>
              <a:rPr sz="1867" dirty="0">
                <a:solidFill>
                  <a:srgbClr val="4D4E5C"/>
                </a:solidFill>
                <a:latin typeface="Arial"/>
                <a:cs typeface="Arial"/>
              </a:rPr>
              <a:t>Benefits</a:t>
            </a:r>
            <a:endParaRPr sz="1867" dirty="0">
              <a:latin typeface="Arial"/>
              <a:cs typeface="Arial"/>
            </a:endParaRPr>
          </a:p>
          <a:p>
            <a:pPr marL="325112" indent="-308179">
              <a:spcBef>
                <a:spcPts val="360"/>
              </a:spcBef>
              <a:buClr>
                <a:srgbClr val="00AFEF"/>
              </a:buClr>
              <a:buFont typeface="Wingdings"/>
              <a:buChar char=""/>
              <a:tabLst>
                <a:tab pos="325112" algn="l"/>
                <a:tab pos="325959" algn="l"/>
              </a:tabLst>
            </a:pPr>
            <a:r>
              <a:rPr sz="1867" dirty="0">
                <a:solidFill>
                  <a:srgbClr val="4D4E5C"/>
                </a:solidFill>
                <a:latin typeface="Arial"/>
                <a:cs typeface="Arial"/>
              </a:rPr>
              <a:t>Bugs can be detected</a:t>
            </a:r>
            <a:r>
              <a:rPr sz="1867" spc="-147" dirty="0">
                <a:solidFill>
                  <a:srgbClr val="4D4E5C"/>
                </a:solidFill>
                <a:latin typeface="Arial"/>
                <a:cs typeface="Arial"/>
              </a:rPr>
              <a:t> </a:t>
            </a:r>
            <a:r>
              <a:rPr sz="1867" dirty="0">
                <a:solidFill>
                  <a:srgbClr val="4D4E5C"/>
                </a:solidFill>
                <a:latin typeface="Arial"/>
                <a:cs typeface="Arial"/>
              </a:rPr>
              <a:t>immediately</a:t>
            </a:r>
            <a:endParaRPr sz="1867" dirty="0">
              <a:latin typeface="Arial"/>
              <a:cs typeface="Arial"/>
            </a:endParaRPr>
          </a:p>
          <a:p>
            <a:pPr marL="325112" indent="-308179">
              <a:spcBef>
                <a:spcPts val="353"/>
              </a:spcBef>
              <a:buClr>
                <a:srgbClr val="00AFEF"/>
              </a:buClr>
              <a:buFont typeface="Wingdings"/>
              <a:buChar char=""/>
              <a:tabLst>
                <a:tab pos="325112" algn="l"/>
                <a:tab pos="325959" algn="l"/>
              </a:tabLst>
            </a:pPr>
            <a:r>
              <a:rPr sz="1867" dirty="0">
                <a:solidFill>
                  <a:srgbClr val="4D4E5C"/>
                </a:solidFill>
                <a:latin typeface="Arial"/>
                <a:cs typeface="Arial"/>
              </a:rPr>
              <a:t>There is no separate integration step in the</a:t>
            </a:r>
            <a:r>
              <a:rPr sz="1867" spc="-293" dirty="0">
                <a:solidFill>
                  <a:srgbClr val="4D4E5C"/>
                </a:solidFill>
                <a:latin typeface="Arial"/>
                <a:cs typeface="Arial"/>
              </a:rPr>
              <a:t> </a:t>
            </a:r>
            <a:r>
              <a:rPr sz="1867" spc="-7" dirty="0">
                <a:solidFill>
                  <a:srgbClr val="4D4E5C"/>
                </a:solidFill>
                <a:latin typeface="Arial"/>
                <a:cs typeface="Arial"/>
              </a:rPr>
              <a:t>lifecycle</a:t>
            </a:r>
            <a:endParaRPr sz="1867" dirty="0">
              <a:latin typeface="Arial"/>
              <a:cs typeface="Arial"/>
            </a:endParaRPr>
          </a:p>
          <a:p>
            <a:pPr marL="325112" indent="-308179">
              <a:spcBef>
                <a:spcPts val="347"/>
              </a:spcBef>
              <a:buClr>
                <a:srgbClr val="00AFEF"/>
              </a:buClr>
              <a:buFont typeface="Wingdings"/>
              <a:buChar char=""/>
              <a:tabLst>
                <a:tab pos="325112" algn="l"/>
                <a:tab pos="325959" algn="l"/>
              </a:tabLst>
            </a:pPr>
            <a:r>
              <a:rPr sz="1867" dirty="0">
                <a:solidFill>
                  <a:srgbClr val="4D4E5C"/>
                </a:solidFill>
                <a:latin typeface="Arial"/>
                <a:cs typeface="Arial"/>
              </a:rPr>
              <a:t>At any </a:t>
            </a:r>
            <a:r>
              <a:rPr sz="1867" spc="-7" dirty="0">
                <a:solidFill>
                  <a:srgbClr val="4D4E5C"/>
                </a:solidFill>
                <a:latin typeface="Arial"/>
                <a:cs typeface="Arial"/>
              </a:rPr>
              <a:t>time, </a:t>
            </a:r>
            <a:r>
              <a:rPr sz="1867" dirty="0">
                <a:solidFill>
                  <a:srgbClr val="4D4E5C"/>
                </a:solidFill>
                <a:latin typeface="Arial"/>
                <a:cs typeface="Arial"/>
              </a:rPr>
              <a:t>a readily </a:t>
            </a:r>
            <a:r>
              <a:rPr sz="1867" spc="-7" dirty="0">
                <a:solidFill>
                  <a:srgbClr val="4D4E5C"/>
                </a:solidFill>
                <a:latin typeface="Arial"/>
                <a:cs typeface="Arial"/>
              </a:rPr>
              <a:t>deployable system </a:t>
            </a:r>
            <a:r>
              <a:rPr sz="1867" dirty="0">
                <a:solidFill>
                  <a:srgbClr val="4D4E5C"/>
                </a:solidFill>
                <a:latin typeface="Arial"/>
                <a:cs typeface="Arial"/>
              </a:rPr>
              <a:t>is</a:t>
            </a:r>
            <a:r>
              <a:rPr sz="1867" spc="-107" dirty="0">
                <a:solidFill>
                  <a:srgbClr val="4D4E5C"/>
                </a:solidFill>
                <a:latin typeface="Arial"/>
                <a:cs typeface="Arial"/>
              </a:rPr>
              <a:t> </a:t>
            </a:r>
            <a:r>
              <a:rPr sz="1867" spc="-7" dirty="0">
                <a:solidFill>
                  <a:srgbClr val="4D4E5C"/>
                </a:solidFill>
                <a:latin typeface="Arial"/>
                <a:cs typeface="Arial"/>
              </a:rPr>
              <a:t>available</a:t>
            </a:r>
            <a:endParaRPr sz="1867" dirty="0">
              <a:latin typeface="Arial"/>
              <a:cs typeface="Arial"/>
            </a:endParaRPr>
          </a:p>
          <a:p>
            <a:pPr marL="325112" indent="-308179">
              <a:spcBef>
                <a:spcPts val="353"/>
              </a:spcBef>
              <a:buClr>
                <a:srgbClr val="00AFEF"/>
              </a:buClr>
              <a:buFont typeface="Wingdings"/>
              <a:buChar char=""/>
              <a:tabLst>
                <a:tab pos="325112" algn="l"/>
                <a:tab pos="325959" algn="l"/>
              </a:tabLst>
            </a:pPr>
            <a:r>
              <a:rPr sz="1867" spc="-7" dirty="0">
                <a:solidFill>
                  <a:srgbClr val="4D4E5C"/>
                </a:solidFill>
                <a:latin typeface="Arial"/>
                <a:cs typeface="Arial"/>
              </a:rPr>
              <a:t>CI </a:t>
            </a:r>
            <a:r>
              <a:rPr sz="1867" dirty="0">
                <a:solidFill>
                  <a:srgbClr val="4D4E5C"/>
                </a:solidFill>
                <a:latin typeface="Arial"/>
                <a:cs typeface="Arial"/>
              </a:rPr>
              <a:t>keeps a record of the progress made in the</a:t>
            </a:r>
            <a:r>
              <a:rPr sz="1867" spc="-327" dirty="0">
                <a:solidFill>
                  <a:srgbClr val="4D4E5C"/>
                </a:solidFill>
                <a:latin typeface="Arial"/>
                <a:cs typeface="Arial"/>
              </a:rPr>
              <a:t> </a:t>
            </a:r>
            <a:r>
              <a:rPr sz="1867" dirty="0">
                <a:solidFill>
                  <a:srgbClr val="4D4E5C"/>
                </a:solidFill>
                <a:latin typeface="Arial"/>
                <a:cs typeface="Arial"/>
              </a:rPr>
              <a:t>project</a:t>
            </a:r>
            <a:endParaRPr sz="1867" dirty="0">
              <a:latin typeface="Arial"/>
              <a:cs typeface="Arial"/>
            </a:endParaRPr>
          </a:p>
          <a:p>
            <a:pPr>
              <a:spcBef>
                <a:spcPts val="33"/>
              </a:spcBef>
              <a:buClr>
                <a:srgbClr val="00AFEF"/>
              </a:buClr>
              <a:buFont typeface="Wingdings"/>
              <a:buChar char=""/>
            </a:pPr>
            <a:endParaRPr sz="2533" dirty="0">
              <a:latin typeface="Times New Roman"/>
              <a:cs typeface="Times New Roman"/>
            </a:endParaRPr>
          </a:p>
          <a:p>
            <a:pPr marL="16933"/>
            <a:r>
              <a:rPr sz="1867" spc="-47" dirty="0">
                <a:solidFill>
                  <a:srgbClr val="4D4E5C"/>
                </a:solidFill>
                <a:latin typeface="Arial"/>
                <a:cs typeface="Arial"/>
              </a:rPr>
              <a:t>Tools</a:t>
            </a:r>
            <a:r>
              <a:rPr sz="1867" spc="-27" dirty="0">
                <a:solidFill>
                  <a:srgbClr val="4D4E5C"/>
                </a:solidFill>
                <a:latin typeface="Arial"/>
                <a:cs typeface="Arial"/>
              </a:rPr>
              <a:t> </a:t>
            </a:r>
            <a:r>
              <a:rPr sz="1867" spc="-7" dirty="0">
                <a:solidFill>
                  <a:srgbClr val="4D4E5C"/>
                </a:solidFill>
                <a:latin typeface="Arial"/>
                <a:cs typeface="Arial"/>
              </a:rPr>
              <a:t>Example:</a:t>
            </a:r>
            <a:endParaRPr sz="1867" dirty="0">
              <a:latin typeface="Arial"/>
              <a:cs typeface="Arial"/>
            </a:endParaRPr>
          </a:p>
          <a:p>
            <a:pPr marL="325112" indent="-308179">
              <a:spcBef>
                <a:spcPts val="353"/>
              </a:spcBef>
              <a:buClr>
                <a:srgbClr val="00AFEF"/>
              </a:buClr>
              <a:buFont typeface="Wingdings"/>
              <a:buChar char=""/>
              <a:tabLst>
                <a:tab pos="325112" algn="l"/>
                <a:tab pos="325959" algn="l"/>
              </a:tabLst>
            </a:pPr>
            <a:r>
              <a:rPr sz="1867" spc="-7" dirty="0">
                <a:solidFill>
                  <a:srgbClr val="4D4E5C"/>
                </a:solidFill>
                <a:latin typeface="Arial"/>
                <a:cs typeface="Arial"/>
              </a:rPr>
              <a:t>SCM</a:t>
            </a:r>
            <a:endParaRPr sz="1867" dirty="0">
              <a:latin typeface="Arial"/>
              <a:cs typeface="Arial"/>
            </a:endParaRPr>
          </a:p>
          <a:p>
            <a:pPr marL="1008355" lvl="1" indent="-381837">
              <a:spcBef>
                <a:spcPts val="387"/>
              </a:spcBef>
              <a:buClr>
                <a:srgbClr val="00AFEF"/>
              </a:buClr>
              <a:buFont typeface="Wingdings"/>
              <a:buChar char=""/>
              <a:tabLst>
                <a:tab pos="1008355" algn="l"/>
                <a:tab pos="1009201" algn="l"/>
              </a:tabLst>
            </a:pPr>
            <a:r>
              <a:rPr sz="1733" spc="-53" dirty="0">
                <a:solidFill>
                  <a:srgbClr val="4D4E5C"/>
                </a:solidFill>
                <a:latin typeface="Arial"/>
                <a:cs typeface="Arial"/>
              </a:rPr>
              <a:t>GIT, </a:t>
            </a:r>
            <a:r>
              <a:rPr sz="1733" spc="-7" dirty="0">
                <a:solidFill>
                  <a:srgbClr val="4D4E5C"/>
                </a:solidFill>
                <a:latin typeface="Arial"/>
                <a:cs typeface="Arial"/>
              </a:rPr>
              <a:t>Mercurial,</a:t>
            </a:r>
            <a:r>
              <a:rPr sz="1733" spc="107" dirty="0">
                <a:solidFill>
                  <a:srgbClr val="4D4E5C"/>
                </a:solidFill>
                <a:latin typeface="Arial"/>
                <a:cs typeface="Arial"/>
              </a:rPr>
              <a:t> </a:t>
            </a:r>
            <a:r>
              <a:rPr sz="1733" spc="-7" dirty="0">
                <a:solidFill>
                  <a:srgbClr val="4D4E5C"/>
                </a:solidFill>
                <a:latin typeface="Arial"/>
                <a:cs typeface="Arial"/>
              </a:rPr>
              <a:t>SVN</a:t>
            </a:r>
            <a:endParaRPr sz="1733" dirty="0">
              <a:latin typeface="Arial"/>
              <a:cs typeface="Arial"/>
            </a:endParaRPr>
          </a:p>
          <a:p>
            <a:pPr marL="325112" indent="-308179">
              <a:spcBef>
                <a:spcPts val="353"/>
              </a:spcBef>
              <a:buClr>
                <a:srgbClr val="00AFEF"/>
              </a:buClr>
              <a:buFont typeface="Wingdings"/>
              <a:buChar char=""/>
              <a:tabLst>
                <a:tab pos="325112" algn="l"/>
                <a:tab pos="325959" algn="l"/>
              </a:tabLst>
            </a:pPr>
            <a:r>
              <a:rPr sz="1867" dirty="0">
                <a:solidFill>
                  <a:srgbClr val="4D4E5C"/>
                </a:solidFill>
                <a:latin typeface="Arial"/>
                <a:cs typeface="Arial"/>
              </a:rPr>
              <a:t>Continuous Build</a:t>
            </a:r>
            <a:r>
              <a:rPr sz="1867" spc="-87" dirty="0">
                <a:solidFill>
                  <a:srgbClr val="4D4E5C"/>
                </a:solidFill>
                <a:latin typeface="Arial"/>
                <a:cs typeface="Arial"/>
              </a:rPr>
              <a:t> </a:t>
            </a:r>
            <a:r>
              <a:rPr sz="1867" spc="-7" dirty="0">
                <a:solidFill>
                  <a:srgbClr val="4D4E5C"/>
                </a:solidFill>
                <a:latin typeface="Arial"/>
                <a:cs typeface="Arial"/>
              </a:rPr>
              <a:t>Systems</a:t>
            </a:r>
            <a:endParaRPr sz="1867" dirty="0">
              <a:latin typeface="Arial"/>
              <a:cs typeface="Arial"/>
            </a:endParaRPr>
          </a:p>
          <a:p>
            <a:pPr marL="1008355" lvl="1" indent="-381837">
              <a:spcBef>
                <a:spcPts val="387"/>
              </a:spcBef>
              <a:buClr>
                <a:srgbClr val="00AFEF"/>
              </a:buClr>
              <a:buFont typeface="Wingdings"/>
              <a:buChar char=""/>
              <a:tabLst>
                <a:tab pos="1008355" algn="l"/>
                <a:tab pos="1009201" algn="l"/>
              </a:tabLst>
            </a:pPr>
            <a:r>
              <a:rPr sz="1733" spc="-7" dirty="0">
                <a:solidFill>
                  <a:srgbClr val="4D4E5C"/>
                </a:solidFill>
                <a:latin typeface="Arial"/>
                <a:cs typeface="Arial"/>
              </a:rPr>
              <a:t>Jenkins &amp;</a:t>
            </a:r>
            <a:r>
              <a:rPr sz="1733" spc="27" dirty="0">
                <a:solidFill>
                  <a:srgbClr val="4D4E5C"/>
                </a:solidFill>
                <a:latin typeface="Arial"/>
                <a:cs typeface="Arial"/>
              </a:rPr>
              <a:t> </a:t>
            </a:r>
            <a:r>
              <a:rPr sz="1733" spc="-13" dirty="0">
                <a:solidFill>
                  <a:srgbClr val="4D4E5C"/>
                </a:solidFill>
                <a:latin typeface="Arial"/>
                <a:cs typeface="Arial"/>
              </a:rPr>
              <a:t>Bamboo</a:t>
            </a:r>
            <a:endParaRPr sz="1733" dirty="0">
              <a:latin typeface="Arial"/>
              <a:cs typeface="Arial"/>
            </a:endParaRPr>
          </a:p>
          <a:p>
            <a:pPr marL="325112" indent="-308179">
              <a:spcBef>
                <a:spcPts val="347"/>
              </a:spcBef>
              <a:buClr>
                <a:srgbClr val="00AFEF"/>
              </a:buClr>
              <a:buFont typeface="Wingdings"/>
              <a:buChar char=""/>
              <a:tabLst>
                <a:tab pos="325112" algn="l"/>
                <a:tab pos="325959" algn="l"/>
              </a:tabLst>
            </a:pPr>
            <a:r>
              <a:rPr sz="1867" spc="-53" dirty="0">
                <a:solidFill>
                  <a:srgbClr val="4D4E5C"/>
                </a:solidFill>
                <a:latin typeface="Arial"/>
                <a:cs typeface="Arial"/>
              </a:rPr>
              <a:t>Test</a:t>
            </a:r>
            <a:r>
              <a:rPr sz="1867" spc="-47" dirty="0">
                <a:solidFill>
                  <a:srgbClr val="4D4E5C"/>
                </a:solidFill>
                <a:latin typeface="Arial"/>
                <a:cs typeface="Arial"/>
              </a:rPr>
              <a:t> </a:t>
            </a:r>
            <a:r>
              <a:rPr sz="1867" spc="-7" dirty="0">
                <a:solidFill>
                  <a:srgbClr val="4D4E5C"/>
                </a:solidFill>
                <a:latin typeface="Arial"/>
                <a:cs typeface="Arial"/>
              </a:rPr>
              <a:t>Frameworks</a:t>
            </a:r>
            <a:endParaRPr sz="1867" dirty="0">
              <a:latin typeface="Arial"/>
              <a:cs typeface="Arial"/>
            </a:endParaRPr>
          </a:p>
          <a:p>
            <a:pPr marL="1008355" lvl="1" indent="-381837">
              <a:spcBef>
                <a:spcPts val="393"/>
              </a:spcBef>
              <a:buClr>
                <a:srgbClr val="00AFEF"/>
              </a:buClr>
              <a:buFont typeface="Wingdings"/>
              <a:buChar char=""/>
              <a:tabLst>
                <a:tab pos="1008355" algn="l"/>
                <a:tab pos="1009201" algn="l"/>
              </a:tabLst>
            </a:pPr>
            <a:r>
              <a:rPr sz="1733" spc="-20" dirty="0">
                <a:solidFill>
                  <a:srgbClr val="4D4E5C"/>
                </a:solidFill>
                <a:latin typeface="Arial"/>
                <a:cs typeface="Arial"/>
              </a:rPr>
              <a:t>Cucumber,</a:t>
            </a:r>
            <a:r>
              <a:rPr sz="1733" spc="33" dirty="0">
                <a:solidFill>
                  <a:srgbClr val="4D4E5C"/>
                </a:solidFill>
                <a:latin typeface="Arial"/>
                <a:cs typeface="Arial"/>
              </a:rPr>
              <a:t> </a:t>
            </a:r>
            <a:r>
              <a:rPr sz="1733" spc="-7" dirty="0">
                <a:solidFill>
                  <a:srgbClr val="4D4E5C"/>
                </a:solidFill>
                <a:latin typeface="Arial"/>
                <a:cs typeface="Arial"/>
              </a:rPr>
              <a:t>JUnit</a:t>
            </a:r>
            <a:endParaRPr sz="1733" dirty="0">
              <a:latin typeface="Arial"/>
              <a:cs typeface="Arial"/>
            </a:endParaRPr>
          </a:p>
          <a:p>
            <a:pPr marL="325112" indent="-308179">
              <a:spcBef>
                <a:spcPts val="347"/>
              </a:spcBef>
              <a:buClr>
                <a:srgbClr val="00AFEF"/>
              </a:buClr>
              <a:buFont typeface="Wingdings"/>
              <a:buChar char=""/>
              <a:tabLst>
                <a:tab pos="325112" algn="l"/>
                <a:tab pos="325959" algn="l"/>
              </a:tabLst>
            </a:pPr>
            <a:r>
              <a:rPr sz="1867" dirty="0">
                <a:solidFill>
                  <a:srgbClr val="4D4E5C"/>
                </a:solidFill>
                <a:latin typeface="Arial"/>
                <a:cs typeface="Arial"/>
              </a:rPr>
              <a:t>Artifact</a:t>
            </a:r>
            <a:r>
              <a:rPr sz="1867" spc="-53" dirty="0">
                <a:solidFill>
                  <a:srgbClr val="4D4E5C"/>
                </a:solidFill>
                <a:latin typeface="Arial"/>
                <a:cs typeface="Arial"/>
              </a:rPr>
              <a:t> </a:t>
            </a:r>
            <a:r>
              <a:rPr sz="1867" spc="-7" dirty="0">
                <a:solidFill>
                  <a:srgbClr val="4D4E5C"/>
                </a:solidFill>
                <a:latin typeface="Arial"/>
                <a:cs typeface="Arial"/>
              </a:rPr>
              <a:t>Repositories</a:t>
            </a:r>
            <a:endParaRPr sz="1867" dirty="0">
              <a:latin typeface="Arial"/>
              <a:cs typeface="Arial"/>
            </a:endParaRPr>
          </a:p>
          <a:p>
            <a:pPr marL="1008355" lvl="1" indent="-381837">
              <a:spcBef>
                <a:spcPts val="393"/>
              </a:spcBef>
              <a:buClr>
                <a:srgbClr val="00AFEF"/>
              </a:buClr>
              <a:buFont typeface="Wingdings"/>
              <a:buChar char=""/>
              <a:tabLst>
                <a:tab pos="1008355" algn="l"/>
                <a:tab pos="1009201" algn="l"/>
              </a:tabLst>
            </a:pPr>
            <a:r>
              <a:rPr sz="1733" spc="-13" dirty="0">
                <a:solidFill>
                  <a:srgbClr val="4D4E5C"/>
                </a:solidFill>
                <a:latin typeface="Arial"/>
                <a:cs typeface="Arial"/>
              </a:rPr>
              <a:t>Artifactory </a:t>
            </a:r>
            <a:r>
              <a:rPr sz="1733" spc="-7" dirty="0">
                <a:solidFill>
                  <a:srgbClr val="4D4E5C"/>
                </a:solidFill>
                <a:latin typeface="Arial"/>
                <a:cs typeface="Arial"/>
              </a:rPr>
              <a:t>&amp;</a:t>
            </a:r>
            <a:r>
              <a:rPr sz="1733" spc="53" dirty="0">
                <a:solidFill>
                  <a:srgbClr val="4D4E5C"/>
                </a:solidFill>
                <a:latin typeface="Arial"/>
                <a:cs typeface="Arial"/>
              </a:rPr>
              <a:t> </a:t>
            </a:r>
            <a:r>
              <a:rPr sz="1733" spc="-13" dirty="0">
                <a:solidFill>
                  <a:srgbClr val="4D4E5C"/>
                </a:solidFill>
                <a:latin typeface="Arial"/>
                <a:cs typeface="Arial"/>
              </a:rPr>
              <a:t>Nexus</a:t>
            </a:r>
            <a:endParaRPr sz="1733" dirty="0">
              <a:latin typeface="Arial"/>
              <a:cs typeface="Arial"/>
            </a:endParaRPr>
          </a:p>
        </p:txBody>
      </p:sp>
      <p:sp>
        <p:nvSpPr>
          <p:cNvPr id="4" name="object 4"/>
          <p:cNvSpPr/>
          <p:nvPr/>
        </p:nvSpPr>
        <p:spPr>
          <a:xfrm>
            <a:off x="6892543" y="2474302"/>
            <a:ext cx="4210676" cy="2484551"/>
          </a:xfrm>
          <a:prstGeom prst="rect">
            <a:avLst/>
          </a:prstGeom>
          <a:blipFill>
            <a:blip r:embed="rId2" cstate="print"/>
            <a:stretch>
              <a:fillRect/>
            </a:stretch>
          </a:blipFill>
        </p:spPr>
        <p:txBody>
          <a:bodyPr wrap="square" lIns="0" tIns="0" rIns="0" bIns="0" rtlCol="0"/>
          <a:lstStyle/>
          <a:p>
            <a:endParaRPr/>
          </a:p>
        </p:txBody>
      </p:sp>
    </p:spTree>
    <p:extLst>
      <p:ext uri="{BB962C8B-B14F-4D97-AF65-F5344CB8AC3E}">
        <p14:creationId xmlns:p14="http://schemas.microsoft.com/office/powerpoint/2010/main" val="103056188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293091" y="273981"/>
            <a:ext cx="6190223" cy="479618"/>
          </a:xfrm>
          <a:prstGeom prst="rect">
            <a:avLst/>
          </a:prstGeom>
        </p:spPr>
        <p:txBody>
          <a:bodyPr vert="horz" wrap="square" lIns="0" tIns="17780" rIns="0" bIns="0" numCol="1" rtlCol="0" anchor="t" anchorCtr="0" compatLnSpc="1">
            <a:prstTxWarp prst="textNoShape">
              <a:avLst/>
            </a:prstTxWarp>
            <a:spAutoFit/>
          </a:bodyPr>
          <a:lstStyle/>
          <a:p>
            <a:pPr marL="16933">
              <a:spcBef>
                <a:spcPts val="140"/>
              </a:spcBef>
            </a:pPr>
            <a:r>
              <a:rPr dirty="0"/>
              <a:t>Principles of Continuous</a:t>
            </a:r>
            <a:r>
              <a:rPr spc="-113" dirty="0"/>
              <a:t> </a:t>
            </a:r>
            <a:r>
              <a:rPr dirty="0"/>
              <a:t>Delivery</a:t>
            </a:r>
          </a:p>
        </p:txBody>
      </p:sp>
      <p:sp>
        <p:nvSpPr>
          <p:cNvPr id="3" name="object 3"/>
          <p:cNvSpPr txBox="1"/>
          <p:nvPr/>
        </p:nvSpPr>
        <p:spPr>
          <a:xfrm>
            <a:off x="103139" y="837836"/>
            <a:ext cx="12214013" cy="5327955"/>
          </a:xfrm>
          <a:prstGeom prst="rect">
            <a:avLst/>
          </a:prstGeom>
        </p:spPr>
        <p:txBody>
          <a:bodyPr vert="horz" wrap="square" lIns="0" tIns="77047" rIns="0" bIns="0" rtlCol="0">
            <a:spAutoFit/>
          </a:bodyPr>
          <a:lstStyle/>
          <a:p>
            <a:pPr marL="325112" marR="6773" indent="-308179">
              <a:lnSpc>
                <a:spcPts val="3827"/>
              </a:lnSpc>
              <a:spcBef>
                <a:spcPts val="607"/>
              </a:spcBef>
              <a:buClr>
                <a:srgbClr val="00AFEF"/>
              </a:buClr>
              <a:buSzPct val="43396"/>
              <a:buFont typeface="Wingdings"/>
              <a:buChar char=""/>
              <a:tabLst>
                <a:tab pos="325112" algn="l"/>
                <a:tab pos="325959" algn="l"/>
              </a:tabLst>
            </a:pPr>
            <a:r>
              <a:rPr sz="3533" dirty="0">
                <a:solidFill>
                  <a:srgbClr val="4D4E5C"/>
                </a:solidFill>
                <a:latin typeface="Arial"/>
                <a:cs typeface="Arial"/>
              </a:rPr>
              <a:t>The releasing/deploying software process MUST be</a:t>
            </a:r>
            <a:r>
              <a:rPr sz="3533" spc="-167" dirty="0">
                <a:solidFill>
                  <a:srgbClr val="4D4E5C"/>
                </a:solidFill>
                <a:latin typeface="Arial"/>
                <a:cs typeface="Arial"/>
              </a:rPr>
              <a:t> </a:t>
            </a:r>
            <a:r>
              <a:rPr sz="3533" dirty="0">
                <a:solidFill>
                  <a:srgbClr val="4D4E5C"/>
                </a:solidFill>
                <a:latin typeface="Arial"/>
                <a:cs typeface="Arial"/>
              </a:rPr>
              <a:t>reliable  and</a:t>
            </a:r>
            <a:r>
              <a:rPr sz="3533" spc="-7" dirty="0">
                <a:solidFill>
                  <a:srgbClr val="4D4E5C"/>
                </a:solidFill>
                <a:latin typeface="Arial"/>
                <a:cs typeface="Arial"/>
              </a:rPr>
              <a:t> </a:t>
            </a:r>
            <a:r>
              <a:rPr sz="3533" dirty="0">
                <a:solidFill>
                  <a:srgbClr val="4D4E5C"/>
                </a:solidFill>
                <a:latin typeface="Arial"/>
                <a:cs typeface="Arial"/>
              </a:rPr>
              <a:t>repeatable</a:t>
            </a:r>
            <a:endParaRPr sz="3533" dirty="0">
              <a:latin typeface="Arial"/>
              <a:cs typeface="Arial"/>
            </a:endParaRPr>
          </a:p>
          <a:p>
            <a:pPr marL="1008355" lvl="1" indent="-381837">
              <a:spcBef>
                <a:spcPts val="373"/>
              </a:spcBef>
              <a:buClr>
                <a:srgbClr val="00AFEF"/>
              </a:buClr>
              <a:buSzPct val="43750"/>
              <a:buFont typeface="Wingdings"/>
              <a:buChar char=""/>
              <a:tabLst>
                <a:tab pos="1008355" algn="l"/>
                <a:tab pos="1009201" algn="l"/>
              </a:tabLst>
            </a:pPr>
            <a:r>
              <a:rPr sz="3200" spc="-7" dirty="0">
                <a:solidFill>
                  <a:srgbClr val="4D4E5C"/>
                </a:solidFill>
                <a:latin typeface="Arial"/>
                <a:cs typeface="Arial"/>
              </a:rPr>
              <a:t>Automation </a:t>
            </a:r>
            <a:r>
              <a:rPr sz="3200" dirty="0">
                <a:solidFill>
                  <a:srgbClr val="4D4E5C"/>
                </a:solidFill>
                <a:latin typeface="Arial"/>
                <a:cs typeface="Arial"/>
              </a:rPr>
              <a:t>of</a:t>
            </a:r>
            <a:r>
              <a:rPr sz="3200" spc="13" dirty="0">
                <a:solidFill>
                  <a:srgbClr val="4D4E5C"/>
                </a:solidFill>
                <a:latin typeface="Arial"/>
                <a:cs typeface="Arial"/>
              </a:rPr>
              <a:t> </a:t>
            </a:r>
            <a:r>
              <a:rPr sz="3200" spc="-7" dirty="0">
                <a:solidFill>
                  <a:srgbClr val="4D4E5C"/>
                </a:solidFill>
                <a:latin typeface="Arial"/>
                <a:cs typeface="Arial"/>
              </a:rPr>
              <a:t>everything</a:t>
            </a:r>
            <a:endParaRPr sz="3200" dirty="0">
              <a:latin typeface="Arial"/>
              <a:cs typeface="Arial"/>
            </a:endParaRPr>
          </a:p>
          <a:p>
            <a:pPr marL="1008355" lvl="1" indent="-381837">
              <a:spcBef>
                <a:spcPts val="420"/>
              </a:spcBef>
              <a:buClr>
                <a:srgbClr val="00AFEF"/>
              </a:buClr>
              <a:buSzPct val="43750"/>
              <a:buFont typeface="Wingdings"/>
              <a:buChar char=""/>
              <a:tabLst>
                <a:tab pos="1008355" algn="l"/>
                <a:tab pos="1009201" algn="l"/>
              </a:tabLst>
            </a:pPr>
            <a:r>
              <a:rPr sz="3200" spc="-7" dirty="0">
                <a:solidFill>
                  <a:srgbClr val="4D4E5C"/>
                </a:solidFill>
                <a:latin typeface="Arial"/>
                <a:cs typeface="Arial"/>
              </a:rPr>
              <a:t>Do </a:t>
            </a:r>
            <a:r>
              <a:rPr sz="3200" dirty="0">
                <a:solidFill>
                  <a:srgbClr val="4D4E5C"/>
                </a:solidFill>
                <a:latin typeface="Arial"/>
                <a:cs typeface="Arial"/>
              </a:rPr>
              <a:t>it often, If </a:t>
            </a:r>
            <a:r>
              <a:rPr sz="3200" spc="-7" dirty="0">
                <a:solidFill>
                  <a:srgbClr val="4D4E5C"/>
                </a:solidFill>
                <a:latin typeface="Arial"/>
                <a:cs typeface="Arial"/>
              </a:rPr>
              <a:t>performing somethings is painful</a:t>
            </a:r>
            <a:endParaRPr sz="3200" dirty="0">
              <a:latin typeface="Arial"/>
              <a:cs typeface="Arial"/>
            </a:endParaRPr>
          </a:p>
          <a:p>
            <a:pPr marL="1008355" lvl="1" indent="-381837">
              <a:spcBef>
                <a:spcPts val="413"/>
              </a:spcBef>
              <a:buClr>
                <a:srgbClr val="00AFEF"/>
              </a:buClr>
              <a:buSzPct val="43750"/>
              <a:buFont typeface="Wingdings"/>
              <a:buChar char=""/>
              <a:tabLst>
                <a:tab pos="1008355" algn="l"/>
                <a:tab pos="1009201" algn="l"/>
              </a:tabLst>
            </a:pPr>
            <a:r>
              <a:rPr sz="3200" spc="-7" dirty="0">
                <a:solidFill>
                  <a:srgbClr val="4D4E5C"/>
                </a:solidFill>
                <a:latin typeface="Arial"/>
                <a:cs typeface="Arial"/>
              </a:rPr>
              <a:t>Keep all </a:t>
            </a:r>
            <a:r>
              <a:rPr sz="3200" dirty="0">
                <a:solidFill>
                  <a:srgbClr val="4D4E5C"/>
                </a:solidFill>
                <a:latin typeface="Arial"/>
                <a:cs typeface="Arial"/>
              </a:rPr>
              <a:t>artefacts </a:t>
            </a:r>
            <a:r>
              <a:rPr sz="3200" spc="-7" dirty="0">
                <a:solidFill>
                  <a:srgbClr val="4D4E5C"/>
                </a:solidFill>
                <a:latin typeface="Arial"/>
                <a:cs typeface="Arial"/>
              </a:rPr>
              <a:t>in source</a:t>
            </a:r>
            <a:r>
              <a:rPr sz="3200" spc="20" dirty="0">
                <a:solidFill>
                  <a:srgbClr val="4D4E5C"/>
                </a:solidFill>
                <a:latin typeface="Arial"/>
                <a:cs typeface="Arial"/>
              </a:rPr>
              <a:t> </a:t>
            </a:r>
            <a:r>
              <a:rPr sz="3200" spc="-7" dirty="0">
                <a:solidFill>
                  <a:srgbClr val="4D4E5C"/>
                </a:solidFill>
                <a:latin typeface="Arial"/>
                <a:cs typeface="Arial"/>
              </a:rPr>
              <a:t>control</a:t>
            </a:r>
            <a:endParaRPr sz="3200" dirty="0">
              <a:latin typeface="Arial"/>
              <a:cs typeface="Arial"/>
            </a:endParaRPr>
          </a:p>
          <a:p>
            <a:pPr marL="1008355" lvl="1" indent="-381837">
              <a:spcBef>
                <a:spcPts val="420"/>
              </a:spcBef>
              <a:buClr>
                <a:srgbClr val="00AFEF"/>
              </a:buClr>
              <a:buSzPct val="43750"/>
              <a:buFont typeface="Wingdings"/>
              <a:buChar char=""/>
              <a:tabLst>
                <a:tab pos="1008355" algn="l"/>
                <a:tab pos="1009201" algn="l"/>
              </a:tabLst>
            </a:pPr>
            <a:r>
              <a:rPr sz="3200" spc="-7" dirty="0">
                <a:solidFill>
                  <a:srgbClr val="4D4E5C"/>
                </a:solidFill>
                <a:latin typeface="Arial"/>
                <a:cs typeface="Arial"/>
              </a:rPr>
              <a:t>Done </a:t>
            </a:r>
            <a:r>
              <a:rPr sz="3200" dirty="0">
                <a:solidFill>
                  <a:srgbClr val="4D4E5C"/>
                </a:solidFill>
                <a:latin typeface="Arial"/>
                <a:cs typeface="Arial"/>
              </a:rPr>
              <a:t>means</a:t>
            </a:r>
            <a:r>
              <a:rPr sz="3200" spc="13" dirty="0">
                <a:solidFill>
                  <a:srgbClr val="4D4E5C"/>
                </a:solidFill>
                <a:latin typeface="Arial"/>
                <a:cs typeface="Arial"/>
              </a:rPr>
              <a:t> </a:t>
            </a:r>
            <a:r>
              <a:rPr sz="3200" spc="-7" dirty="0">
                <a:solidFill>
                  <a:srgbClr val="4D4E5C"/>
                </a:solidFill>
                <a:latin typeface="Arial"/>
                <a:cs typeface="Arial"/>
              </a:rPr>
              <a:t>“released”</a:t>
            </a:r>
            <a:endParaRPr sz="3200" dirty="0">
              <a:latin typeface="Arial"/>
              <a:cs typeface="Arial"/>
            </a:endParaRPr>
          </a:p>
          <a:p>
            <a:pPr marL="1008355" lvl="1" indent="-381837">
              <a:spcBef>
                <a:spcPts val="420"/>
              </a:spcBef>
              <a:buClr>
                <a:srgbClr val="00AFEF"/>
              </a:buClr>
              <a:buSzPct val="43750"/>
              <a:buFont typeface="Wingdings"/>
              <a:buChar char=""/>
              <a:tabLst>
                <a:tab pos="1008355" algn="l"/>
                <a:tab pos="1009201" algn="l"/>
              </a:tabLst>
            </a:pPr>
            <a:r>
              <a:rPr sz="3200" spc="-7" dirty="0">
                <a:solidFill>
                  <a:srgbClr val="4D4E5C"/>
                </a:solidFill>
                <a:latin typeface="Arial"/>
                <a:cs typeface="Arial"/>
              </a:rPr>
              <a:t>Build </a:t>
            </a:r>
            <a:r>
              <a:rPr sz="3200" dirty="0">
                <a:solidFill>
                  <a:srgbClr val="4D4E5C"/>
                </a:solidFill>
                <a:latin typeface="Arial"/>
                <a:cs typeface="Arial"/>
              </a:rPr>
              <a:t>the </a:t>
            </a:r>
            <a:r>
              <a:rPr sz="3200" spc="-7" dirty="0">
                <a:solidFill>
                  <a:srgbClr val="4D4E5C"/>
                </a:solidFill>
                <a:latin typeface="Arial"/>
                <a:cs typeface="Arial"/>
              </a:rPr>
              <a:t>quality in, </a:t>
            </a:r>
            <a:r>
              <a:rPr sz="3200" spc="-13" dirty="0">
                <a:solidFill>
                  <a:srgbClr val="4D4E5C"/>
                </a:solidFill>
                <a:latin typeface="Arial"/>
                <a:cs typeface="Arial"/>
              </a:rPr>
              <a:t>is </a:t>
            </a:r>
            <a:r>
              <a:rPr sz="3200" dirty="0">
                <a:solidFill>
                  <a:srgbClr val="4D4E5C"/>
                </a:solidFill>
                <a:latin typeface="Arial"/>
                <a:cs typeface="Arial"/>
              </a:rPr>
              <a:t>part </a:t>
            </a:r>
            <a:r>
              <a:rPr sz="3200" spc="-7" dirty="0">
                <a:solidFill>
                  <a:srgbClr val="4D4E5C"/>
                </a:solidFill>
                <a:latin typeface="Arial"/>
                <a:cs typeface="Arial"/>
              </a:rPr>
              <a:t>of continuous</a:t>
            </a:r>
            <a:r>
              <a:rPr sz="3200" spc="120" dirty="0">
                <a:solidFill>
                  <a:srgbClr val="4D4E5C"/>
                </a:solidFill>
                <a:latin typeface="Arial"/>
                <a:cs typeface="Arial"/>
              </a:rPr>
              <a:t> </a:t>
            </a:r>
            <a:r>
              <a:rPr sz="3200" spc="-7" dirty="0">
                <a:solidFill>
                  <a:srgbClr val="4D4E5C"/>
                </a:solidFill>
                <a:latin typeface="Arial"/>
                <a:cs typeface="Arial"/>
              </a:rPr>
              <a:t>delivery</a:t>
            </a:r>
            <a:endParaRPr sz="3200" dirty="0">
              <a:latin typeface="Arial"/>
              <a:cs typeface="Arial"/>
            </a:endParaRPr>
          </a:p>
          <a:p>
            <a:pPr marL="1008355" marR="1320767" lvl="1" indent="-381837">
              <a:lnSpc>
                <a:spcPts val="3453"/>
              </a:lnSpc>
              <a:spcBef>
                <a:spcPts val="853"/>
              </a:spcBef>
              <a:buClr>
                <a:srgbClr val="00AFEF"/>
              </a:buClr>
              <a:buSzPct val="43750"/>
              <a:buFont typeface="Wingdings"/>
              <a:buChar char=""/>
              <a:tabLst>
                <a:tab pos="1008355" algn="l"/>
                <a:tab pos="1009201" algn="l"/>
              </a:tabLst>
            </a:pPr>
            <a:r>
              <a:rPr sz="3200" spc="-93" dirty="0">
                <a:solidFill>
                  <a:srgbClr val="4D4E5C"/>
                </a:solidFill>
                <a:latin typeface="Arial"/>
                <a:cs typeface="Arial"/>
              </a:rPr>
              <a:t>Team </a:t>
            </a:r>
            <a:r>
              <a:rPr sz="3200" spc="-7" dirty="0">
                <a:solidFill>
                  <a:srgbClr val="4D4E5C"/>
                </a:solidFill>
                <a:latin typeface="Arial"/>
                <a:cs typeface="Arial"/>
              </a:rPr>
              <a:t>members have their responsibility </a:t>
            </a:r>
            <a:r>
              <a:rPr sz="3200" dirty="0">
                <a:solidFill>
                  <a:srgbClr val="4D4E5C"/>
                </a:solidFill>
                <a:latin typeface="Arial"/>
                <a:cs typeface="Arial"/>
              </a:rPr>
              <a:t>for the </a:t>
            </a:r>
            <a:r>
              <a:rPr sz="3200" spc="-7" dirty="0">
                <a:solidFill>
                  <a:srgbClr val="4D4E5C"/>
                </a:solidFill>
                <a:latin typeface="Arial"/>
                <a:cs typeface="Arial"/>
              </a:rPr>
              <a:t>release  process</a:t>
            </a:r>
            <a:endParaRPr sz="3200" dirty="0">
              <a:latin typeface="Arial"/>
              <a:cs typeface="Arial"/>
            </a:endParaRPr>
          </a:p>
          <a:p>
            <a:pPr marL="1008355" lvl="1" indent="-381837">
              <a:spcBef>
                <a:spcPts val="367"/>
              </a:spcBef>
              <a:buClr>
                <a:srgbClr val="00AFEF"/>
              </a:buClr>
              <a:buSzPct val="43750"/>
              <a:buFont typeface="Wingdings"/>
              <a:buChar char=""/>
              <a:tabLst>
                <a:tab pos="1008355" algn="l"/>
                <a:tab pos="1009201" algn="l"/>
              </a:tabLst>
            </a:pPr>
            <a:r>
              <a:rPr sz="3200" dirty="0">
                <a:solidFill>
                  <a:srgbClr val="4D4E5C"/>
                </a:solidFill>
                <a:latin typeface="Arial"/>
                <a:cs typeface="Arial"/>
              </a:rPr>
              <a:t>Improve </a:t>
            </a:r>
            <a:r>
              <a:rPr sz="3200" spc="-7" dirty="0">
                <a:solidFill>
                  <a:srgbClr val="4D4E5C"/>
                </a:solidFill>
                <a:latin typeface="Arial"/>
                <a:cs typeface="Arial"/>
              </a:rPr>
              <a:t>continuously by way </a:t>
            </a:r>
            <a:r>
              <a:rPr sz="3200" dirty="0">
                <a:solidFill>
                  <a:srgbClr val="4D4E5C"/>
                </a:solidFill>
                <a:latin typeface="Arial"/>
                <a:cs typeface="Arial"/>
              </a:rPr>
              <a:t>of </a:t>
            </a:r>
            <a:r>
              <a:rPr sz="3200" spc="-7" dirty="0">
                <a:solidFill>
                  <a:srgbClr val="4D4E5C"/>
                </a:solidFill>
                <a:latin typeface="Arial"/>
                <a:cs typeface="Arial"/>
              </a:rPr>
              <a:t>continuous</a:t>
            </a:r>
            <a:r>
              <a:rPr sz="3200" spc="93" dirty="0">
                <a:solidFill>
                  <a:srgbClr val="4D4E5C"/>
                </a:solidFill>
                <a:latin typeface="Arial"/>
                <a:cs typeface="Arial"/>
              </a:rPr>
              <a:t> </a:t>
            </a:r>
            <a:r>
              <a:rPr sz="3200" spc="-7" dirty="0">
                <a:solidFill>
                  <a:srgbClr val="4D4E5C"/>
                </a:solidFill>
                <a:latin typeface="Arial"/>
                <a:cs typeface="Arial"/>
              </a:rPr>
              <a:t>feedback</a:t>
            </a:r>
            <a:endParaRPr sz="3200" dirty="0">
              <a:latin typeface="Arial"/>
              <a:cs typeface="Arial"/>
            </a:endParaRPr>
          </a:p>
        </p:txBody>
      </p:sp>
    </p:spTree>
    <p:extLst>
      <p:ext uri="{BB962C8B-B14F-4D97-AF65-F5344CB8AC3E}">
        <p14:creationId xmlns:p14="http://schemas.microsoft.com/office/powerpoint/2010/main" val="88768044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335314" y="267093"/>
            <a:ext cx="14569316" cy="479618"/>
          </a:xfrm>
          <a:prstGeom prst="rect">
            <a:avLst/>
          </a:prstGeom>
        </p:spPr>
        <p:txBody>
          <a:bodyPr vert="horz" wrap="square" lIns="0" tIns="17780" rIns="0" bIns="0" numCol="1" rtlCol="0" anchor="t" anchorCtr="0" compatLnSpc="1">
            <a:prstTxWarp prst="textNoShape">
              <a:avLst/>
            </a:prstTxWarp>
            <a:spAutoFit/>
          </a:bodyPr>
          <a:lstStyle/>
          <a:p>
            <a:pPr marL="16933">
              <a:spcBef>
                <a:spcPts val="140"/>
              </a:spcBef>
            </a:pPr>
            <a:r>
              <a:rPr dirty="0"/>
              <a:t>Introduction to</a:t>
            </a:r>
            <a:r>
              <a:rPr spc="-107" dirty="0"/>
              <a:t> </a:t>
            </a:r>
            <a:r>
              <a:rPr dirty="0"/>
              <a:t>Jenkins</a:t>
            </a:r>
          </a:p>
        </p:txBody>
      </p:sp>
      <p:sp>
        <p:nvSpPr>
          <p:cNvPr id="3" name="object 3"/>
          <p:cNvSpPr txBox="1"/>
          <p:nvPr/>
        </p:nvSpPr>
        <p:spPr>
          <a:xfrm>
            <a:off x="284208" y="858485"/>
            <a:ext cx="11292840" cy="2951556"/>
          </a:xfrm>
          <a:prstGeom prst="rect">
            <a:avLst/>
          </a:prstGeom>
        </p:spPr>
        <p:txBody>
          <a:bodyPr vert="horz" wrap="square" lIns="0" tIns="118533" rIns="0" bIns="0" rtlCol="0">
            <a:spAutoFit/>
          </a:bodyPr>
          <a:lstStyle/>
          <a:p>
            <a:pPr marL="325112" indent="-308179">
              <a:spcBef>
                <a:spcPts val="933"/>
              </a:spcBef>
              <a:buClr>
                <a:srgbClr val="00AFEF"/>
              </a:buClr>
              <a:buFont typeface="Wingdings"/>
              <a:buChar char=""/>
              <a:tabLst>
                <a:tab pos="325959" algn="l"/>
              </a:tabLst>
            </a:pPr>
            <a:r>
              <a:rPr sz="2667" dirty="0">
                <a:solidFill>
                  <a:srgbClr val="4D4E5C"/>
                </a:solidFill>
                <a:latin typeface="Arial"/>
                <a:cs typeface="Arial"/>
              </a:rPr>
              <a:t>Jenkins is Java based Continuous Build/Integration</a:t>
            </a:r>
            <a:r>
              <a:rPr sz="2667" spc="-200" dirty="0">
                <a:solidFill>
                  <a:srgbClr val="4D4E5C"/>
                </a:solidFill>
                <a:latin typeface="Arial"/>
                <a:cs typeface="Arial"/>
              </a:rPr>
              <a:t> </a:t>
            </a:r>
            <a:r>
              <a:rPr sz="2667" dirty="0">
                <a:solidFill>
                  <a:srgbClr val="4D4E5C"/>
                </a:solidFill>
                <a:latin typeface="Arial"/>
                <a:cs typeface="Arial"/>
              </a:rPr>
              <a:t>System</a:t>
            </a:r>
            <a:endParaRPr sz="2667">
              <a:latin typeface="Arial"/>
              <a:cs typeface="Arial"/>
            </a:endParaRPr>
          </a:p>
          <a:p>
            <a:pPr marL="325112" indent="-308179">
              <a:spcBef>
                <a:spcPts val="800"/>
              </a:spcBef>
              <a:buClr>
                <a:srgbClr val="00AFEF"/>
              </a:buClr>
              <a:buFont typeface="Wingdings"/>
              <a:buChar char=""/>
              <a:tabLst>
                <a:tab pos="325959" algn="l"/>
              </a:tabLst>
            </a:pPr>
            <a:r>
              <a:rPr sz="2667" dirty="0">
                <a:solidFill>
                  <a:srgbClr val="4D4E5C"/>
                </a:solidFill>
                <a:latin typeface="Arial"/>
                <a:cs typeface="Arial"/>
              </a:rPr>
              <a:t>It is highly configurable system by itself using numerous available</a:t>
            </a:r>
            <a:r>
              <a:rPr sz="2667" spc="-227" dirty="0">
                <a:solidFill>
                  <a:srgbClr val="4D4E5C"/>
                </a:solidFill>
                <a:latin typeface="Arial"/>
                <a:cs typeface="Arial"/>
              </a:rPr>
              <a:t> </a:t>
            </a:r>
            <a:r>
              <a:rPr sz="2667" dirty="0">
                <a:solidFill>
                  <a:srgbClr val="4D4E5C"/>
                </a:solidFill>
                <a:latin typeface="Arial"/>
                <a:cs typeface="Arial"/>
              </a:rPr>
              <a:t>plugins</a:t>
            </a:r>
            <a:endParaRPr sz="2667">
              <a:latin typeface="Arial"/>
              <a:cs typeface="Arial"/>
            </a:endParaRPr>
          </a:p>
          <a:p>
            <a:pPr marL="325112" indent="-308179">
              <a:spcBef>
                <a:spcPts val="800"/>
              </a:spcBef>
              <a:buClr>
                <a:srgbClr val="00AFEF"/>
              </a:buClr>
              <a:buFont typeface="Wingdings"/>
              <a:buChar char=""/>
              <a:tabLst>
                <a:tab pos="325959" algn="l"/>
              </a:tabLst>
            </a:pPr>
            <a:r>
              <a:rPr sz="2667" dirty="0">
                <a:solidFill>
                  <a:srgbClr val="4D4E5C"/>
                </a:solidFill>
                <a:latin typeface="Arial"/>
                <a:cs typeface="Arial"/>
              </a:rPr>
              <a:t>Jenkins monitors the whole build process and provides reports</a:t>
            </a:r>
            <a:r>
              <a:rPr sz="2667" spc="-272" dirty="0">
                <a:solidFill>
                  <a:srgbClr val="4D4E5C"/>
                </a:solidFill>
                <a:latin typeface="Arial"/>
                <a:cs typeface="Arial"/>
              </a:rPr>
              <a:t> </a:t>
            </a:r>
            <a:r>
              <a:rPr sz="2667" dirty="0">
                <a:solidFill>
                  <a:srgbClr val="4D4E5C"/>
                </a:solidFill>
                <a:latin typeface="Arial"/>
                <a:cs typeface="Arial"/>
              </a:rPr>
              <a:t>and</a:t>
            </a:r>
            <a:endParaRPr sz="2667">
              <a:latin typeface="Arial"/>
              <a:cs typeface="Arial"/>
            </a:endParaRPr>
          </a:p>
          <a:p>
            <a:pPr marL="325112"/>
            <a:r>
              <a:rPr sz="2667" dirty="0">
                <a:solidFill>
                  <a:srgbClr val="4D4E5C"/>
                </a:solidFill>
                <a:latin typeface="Arial"/>
                <a:cs typeface="Arial"/>
              </a:rPr>
              <a:t>notifications to alert maintainers on success or</a:t>
            </a:r>
            <a:r>
              <a:rPr sz="2667" spc="-247" dirty="0">
                <a:solidFill>
                  <a:srgbClr val="4D4E5C"/>
                </a:solidFill>
                <a:latin typeface="Arial"/>
                <a:cs typeface="Arial"/>
              </a:rPr>
              <a:t> </a:t>
            </a:r>
            <a:r>
              <a:rPr sz="2667" dirty="0">
                <a:solidFill>
                  <a:srgbClr val="4D4E5C"/>
                </a:solidFill>
                <a:latin typeface="Arial"/>
                <a:cs typeface="Arial"/>
              </a:rPr>
              <a:t>errors</a:t>
            </a:r>
            <a:endParaRPr sz="2667">
              <a:latin typeface="Arial"/>
              <a:cs typeface="Arial"/>
            </a:endParaRPr>
          </a:p>
          <a:p>
            <a:pPr marL="325112" indent="-308179">
              <a:spcBef>
                <a:spcPts val="800"/>
              </a:spcBef>
              <a:buClr>
                <a:srgbClr val="00AFEF"/>
              </a:buClr>
              <a:buFont typeface="Wingdings"/>
              <a:buChar char=""/>
              <a:tabLst>
                <a:tab pos="325959" algn="l"/>
              </a:tabLst>
            </a:pPr>
            <a:r>
              <a:rPr sz="2667" dirty="0">
                <a:solidFill>
                  <a:srgbClr val="4D4E5C"/>
                </a:solidFill>
                <a:latin typeface="Arial"/>
                <a:cs typeface="Arial"/>
              </a:rPr>
              <a:t>Jenkins runs in a servlet</a:t>
            </a:r>
            <a:r>
              <a:rPr sz="2667" spc="-152" dirty="0">
                <a:solidFill>
                  <a:srgbClr val="4D4E5C"/>
                </a:solidFill>
                <a:latin typeface="Arial"/>
                <a:cs typeface="Arial"/>
              </a:rPr>
              <a:t> </a:t>
            </a:r>
            <a:r>
              <a:rPr sz="2667" dirty="0">
                <a:solidFill>
                  <a:srgbClr val="4D4E5C"/>
                </a:solidFill>
                <a:latin typeface="Arial"/>
                <a:cs typeface="Arial"/>
              </a:rPr>
              <a:t>container</a:t>
            </a:r>
            <a:endParaRPr sz="2667">
              <a:latin typeface="Arial"/>
              <a:cs typeface="Arial"/>
            </a:endParaRPr>
          </a:p>
          <a:p>
            <a:pPr marL="1008355" lvl="1" indent="-381837">
              <a:spcBef>
                <a:spcPts val="813"/>
              </a:spcBef>
              <a:buClr>
                <a:srgbClr val="00AFEF"/>
              </a:buClr>
              <a:buFont typeface="Wingdings"/>
              <a:buChar char=""/>
              <a:tabLst>
                <a:tab pos="1008355" algn="l"/>
                <a:tab pos="1009201" algn="l"/>
              </a:tabLst>
            </a:pPr>
            <a:r>
              <a:rPr sz="2400" spc="-7" dirty="0">
                <a:solidFill>
                  <a:srgbClr val="4D4E5C"/>
                </a:solidFill>
                <a:latin typeface="Arial"/>
                <a:cs typeface="Arial"/>
              </a:rPr>
              <a:t>Glassfish,</a:t>
            </a:r>
            <a:r>
              <a:rPr sz="2400" spc="-47" dirty="0">
                <a:solidFill>
                  <a:srgbClr val="4D4E5C"/>
                </a:solidFill>
                <a:latin typeface="Arial"/>
                <a:cs typeface="Arial"/>
              </a:rPr>
              <a:t> Tomcat</a:t>
            </a:r>
            <a:endParaRPr sz="2400">
              <a:latin typeface="Arial"/>
              <a:cs typeface="Arial"/>
            </a:endParaRPr>
          </a:p>
        </p:txBody>
      </p:sp>
      <p:sp>
        <p:nvSpPr>
          <p:cNvPr id="4" name="object 4"/>
          <p:cNvSpPr/>
          <p:nvPr/>
        </p:nvSpPr>
        <p:spPr>
          <a:xfrm>
            <a:off x="5063743" y="3488917"/>
            <a:ext cx="5158679" cy="2992993"/>
          </a:xfrm>
          <a:prstGeom prst="rect">
            <a:avLst/>
          </a:prstGeom>
          <a:blipFill>
            <a:blip r:embed="rId2" cstate="print"/>
            <a:stretch>
              <a:fillRect/>
            </a:stretch>
          </a:blipFill>
        </p:spPr>
        <p:txBody>
          <a:bodyPr wrap="square" lIns="0" tIns="0" rIns="0" bIns="0" rtlCol="0"/>
          <a:lstStyle/>
          <a:p>
            <a:endParaRPr/>
          </a:p>
        </p:txBody>
      </p:sp>
    </p:spTree>
    <p:extLst>
      <p:ext uri="{BB962C8B-B14F-4D97-AF65-F5344CB8AC3E}">
        <p14:creationId xmlns:p14="http://schemas.microsoft.com/office/powerpoint/2010/main" val="394822765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0uMFbMEU3kqrJbckp.RoRA"/>
</p:tagLst>
</file>

<file path=ppt/theme/theme1.xml><?xml version="1.0" encoding="utf-8"?>
<a:theme xmlns:a="http://schemas.openxmlformats.org/drawingml/2006/main" name="Maveric Template">
  <a:themeElements>
    <a:clrScheme name="Maveric Colors Updated">
      <a:dk1>
        <a:sysClr val="windowText" lastClr="000000"/>
      </a:dk1>
      <a:lt1>
        <a:sysClr val="window" lastClr="FFFFFF"/>
      </a:lt1>
      <a:dk2>
        <a:srgbClr val="234E8F"/>
      </a:dk2>
      <a:lt2>
        <a:srgbClr val="EEECE1"/>
      </a:lt2>
      <a:accent1>
        <a:srgbClr val="6C99D6"/>
      </a:accent1>
      <a:accent2>
        <a:srgbClr val="234E8F"/>
      </a:accent2>
      <a:accent3>
        <a:srgbClr val="D0247B"/>
      </a:accent3>
      <a:accent4>
        <a:srgbClr val="5E5E5E"/>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tx1"/>
          </a:solidFill>
        </a:ln>
        <a:effectLst/>
      </a:spPr>
      <a:bodyPr rtlCol="0" anchor="ctr"/>
      <a:lstStyle>
        <a:defPPr algn="ctr">
          <a:defRPr dirty="0">
            <a:solidFill>
              <a:schemeClr val="bg1"/>
            </a:solidFill>
            <a:latin typeface="Arial" panose="020B0604020202020204" pitchFamily="34" charset="0"/>
            <a:cs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ln w="9525">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UTOCOBMONITOR" id="{760B864F-E531-449B-A8D3-EE600F1B6D92}" vid="{05D31017-51E5-4A41-8BA1-F73FC103A2D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maveric</Template>
  <TotalTime>134</TotalTime>
  <Words>2296</Words>
  <Application>Microsoft Office PowerPoint</Application>
  <PresentationFormat>Widescreen</PresentationFormat>
  <Paragraphs>409</Paragraphs>
  <Slides>56</Slides>
  <Notes>0</Notes>
  <HiddenSlides>0</HiddenSlides>
  <MMClips>0</MMClips>
  <ScaleCrop>false</ScaleCrop>
  <HeadingPairs>
    <vt:vector size="6" baseType="variant">
      <vt:variant>
        <vt:lpstr>Fonts Used</vt:lpstr>
      </vt:variant>
      <vt:variant>
        <vt:i4>13</vt:i4>
      </vt:variant>
      <vt:variant>
        <vt:lpstr>Theme</vt:lpstr>
      </vt:variant>
      <vt:variant>
        <vt:i4>1</vt:i4>
      </vt:variant>
      <vt:variant>
        <vt:lpstr>Slide Titles</vt:lpstr>
      </vt:variant>
      <vt:variant>
        <vt:i4>56</vt:i4>
      </vt:variant>
    </vt:vector>
  </HeadingPairs>
  <TitlesOfParts>
    <vt:vector size="70" baseType="lpstr">
      <vt:lpstr>ＭＳ Ｐゴシック</vt:lpstr>
      <vt:lpstr>ＭＳ Ｐゴシック</vt:lpstr>
      <vt:lpstr>Arial</vt:lpstr>
      <vt:lpstr>Calibri</vt:lpstr>
      <vt:lpstr>Century Gothic</vt:lpstr>
      <vt:lpstr>Courier New</vt:lpstr>
      <vt:lpstr>COUTURE Bold</vt:lpstr>
      <vt:lpstr>Lucida Grande</vt:lpstr>
      <vt:lpstr>Symbol</vt:lpstr>
      <vt:lpstr>Times New Roman</vt:lpstr>
      <vt:lpstr>Trebuchet MS</vt:lpstr>
      <vt:lpstr>Webdings</vt:lpstr>
      <vt:lpstr>Wingdings</vt:lpstr>
      <vt:lpstr>Maveric Template</vt:lpstr>
      <vt:lpstr>Maven </vt:lpstr>
      <vt:lpstr>Agenda</vt:lpstr>
      <vt:lpstr>Continuous Integration (CI)</vt:lpstr>
      <vt:lpstr>Continuous integration</vt:lpstr>
      <vt:lpstr>Continuous Integration Overview</vt:lpstr>
      <vt:lpstr>PowerPoint Presentation</vt:lpstr>
      <vt:lpstr>Workflow</vt:lpstr>
      <vt:lpstr>Principles of Continuous Delivery</vt:lpstr>
      <vt:lpstr>Introduction to Jenkins</vt:lpstr>
      <vt:lpstr>PowerPoint Presentation</vt:lpstr>
      <vt:lpstr>Challenges while Building a Project</vt:lpstr>
      <vt:lpstr>Objectives</vt:lpstr>
      <vt:lpstr>Maven Overview</vt:lpstr>
      <vt:lpstr>Features of Maven</vt:lpstr>
      <vt:lpstr>Build Process</vt:lpstr>
      <vt:lpstr>Lab 1: Environment Setup</vt:lpstr>
      <vt:lpstr>Objectives</vt:lpstr>
      <vt:lpstr>Step 1: Java Configuration</vt:lpstr>
      <vt:lpstr>Step 2: Maven Setup</vt:lpstr>
      <vt:lpstr>Step 3: Maven Configuration</vt:lpstr>
      <vt:lpstr>Understanding Environment Variables</vt:lpstr>
      <vt:lpstr>Quiz</vt:lpstr>
      <vt:lpstr>Quiz</vt:lpstr>
      <vt:lpstr>PowerPoint Presentation</vt:lpstr>
      <vt:lpstr>Objectives</vt:lpstr>
      <vt:lpstr>Maven POM</vt:lpstr>
      <vt:lpstr>POM - Structure</vt:lpstr>
      <vt:lpstr>Mandatory Fields -POM</vt:lpstr>
      <vt:lpstr>POM - Example</vt:lpstr>
      <vt:lpstr>Lab 2: Create &amp; Build Maven Project</vt:lpstr>
      <vt:lpstr>Objectives</vt:lpstr>
      <vt:lpstr>Maven Project Creation &amp; Execution</vt:lpstr>
      <vt:lpstr>Maven Project Creation &amp; Execution contd..</vt:lpstr>
      <vt:lpstr>Review generated POM</vt:lpstr>
      <vt:lpstr>Update POM</vt:lpstr>
      <vt:lpstr>Update POM (contd..)</vt:lpstr>
      <vt:lpstr>Compile, Run &amp; Test</vt:lpstr>
      <vt:lpstr>Quiz</vt:lpstr>
      <vt:lpstr>Quiz</vt:lpstr>
      <vt:lpstr>Maven Lifecycle</vt:lpstr>
      <vt:lpstr>Objectives</vt:lpstr>
      <vt:lpstr>Maven plug-ins &amp; goals</vt:lpstr>
      <vt:lpstr>Lifecycle Phases &amp; Plugins</vt:lpstr>
      <vt:lpstr>Lifecycle Phases &amp; Plugins contd..</vt:lpstr>
      <vt:lpstr>Maven Project Structure Creation</vt:lpstr>
      <vt:lpstr>Maven life cycle</vt:lpstr>
      <vt:lpstr>PowerPoint Presentation</vt:lpstr>
      <vt:lpstr>PowerPoint Presentation</vt:lpstr>
      <vt:lpstr>Life Cycle – “Default”</vt:lpstr>
      <vt:lpstr> Life Cycle “default” (2)</vt:lpstr>
      <vt:lpstr> Lifecycle “clean” &amp; “site”</vt:lpstr>
      <vt:lpstr>Quiz</vt:lpstr>
      <vt:lpstr>Quiz</vt:lpstr>
      <vt:lpstr>References</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inux Basic Commands</dc:title>
  <dc:creator>Karthik Sivakumar</dc:creator>
  <cp:keywords>T24 COB</cp:keywords>
  <cp:lastModifiedBy>Karthik Sivakumar</cp:lastModifiedBy>
  <cp:revision>17</cp:revision>
  <dcterms:created xsi:type="dcterms:W3CDTF">2019-08-26T16:23:36Z</dcterms:created>
  <dcterms:modified xsi:type="dcterms:W3CDTF">2019-09-26T05:45:11Z</dcterms:modified>
</cp:coreProperties>
</file>